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5" r:id="rId4"/>
  </p:sldMasterIdLst>
  <p:notesMasterIdLst>
    <p:notesMasterId r:id="rId11"/>
  </p:notesMasterIdLst>
  <p:handoutMasterIdLst>
    <p:handoutMasterId r:id="rId12"/>
  </p:handoutMasterIdLst>
  <p:sldIdLst>
    <p:sldId id="2147479258" r:id="rId5"/>
    <p:sldId id="2147479259" r:id="rId6"/>
    <p:sldId id="2147479283" r:id="rId7"/>
    <p:sldId id="2147479281" r:id="rId8"/>
    <p:sldId id="2147479284" r:id="rId9"/>
    <p:sldId id="2147479261" r:id="rId10"/>
  </p:sldIdLst>
  <p:sldSz cx="12192000" cy="6858000"/>
  <p:notesSz cx="9939338" cy="68072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0" clrIdx="1"/>
  <p:cmAuthor id="2" name="Sears, Jeffrey" initials="JS" lastIdx="16" clrIdx="2">
    <p:extLst>
      <p:ext uri="{19B8F6BF-5375-455C-9EA6-DF929625EA0E}">
        <p15:presenceInfo xmlns:p15="http://schemas.microsoft.com/office/powerpoint/2012/main" userId="Sears, Jeffr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323"/>
    <a:srgbClr val="658D1B"/>
    <a:srgbClr val="004C97"/>
    <a:srgbClr val="A20067"/>
    <a:srgbClr val="FDDA98"/>
    <a:srgbClr val="A9C89D"/>
    <a:srgbClr val="7FAFCD"/>
    <a:srgbClr val="D389B7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81" autoAdjust="0"/>
    <p:restoredTop sz="95953" autoAdjust="0"/>
  </p:normalViewPr>
  <p:slideViewPr>
    <p:cSldViewPr snapToGrid="0">
      <p:cViewPr varScale="1">
        <p:scale>
          <a:sx n="110" d="100"/>
          <a:sy n="110" d="100"/>
        </p:scale>
        <p:origin x="936" y="102"/>
      </p:cViewPr>
      <p:guideLst/>
    </p:cSldViewPr>
  </p:slideViewPr>
  <p:outlineViewPr>
    <p:cViewPr>
      <p:scale>
        <a:sx n="33" d="100"/>
        <a:sy n="33" d="100"/>
      </p:scale>
      <p:origin x="0" y="-16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1720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hkuri, Takeharu(大栗 威晴)[He/Him]" userId="e2b91537-111a-43d0-b70f-217da900da39" providerId="ADAL" clId="{16DB6BFE-D4CB-4F72-9EB2-8A526B988724}"/>
    <pc:docChg chg="custSel addSld delSld modSld">
      <pc:chgData name="Ohkuri, Takeharu(大栗 威晴)[He/Him]" userId="e2b91537-111a-43d0-b70f-217da900da39" providerId="ADAL" clId="{16DB6BFE-D4CB-4F72-9EB2-8A526B988724}" dt="2024-06-10T23:13:10.529" v="150" actId="1036"/>
      <pc:docMkLst>
        <pc:docMk/>
      </pc:docMkLst>
      <pc:sldChg chg="del">
        <pc:chgData name="Ohkuri, Takeharu(大栗 威晴)[He/Him]" userId="e2b91537-111a-43d0-b70f-217da900da39" providerId="ADAL" clId="{16DB6BFE-D4CB-4F72-9EB2-8A526B988724}" dt="2024-06-05T00:28:52.128" v="112" actId="47"/>
        <pc:sldMkLst>
          <pc:docMk/>
          <pc:sldMk cId="2101417253" sldId="2147479260"/>
        </pc:sldMkLst>
      </pc:sldChg>
      <pc:sldChg chg="addSp delSp modSp mod chgLayout">
        <pc:chgData name="Ohkuri, Takeharu(大栗 威晴)[He/Him]" userId="e2b91537-111a-43d0-b70f-217da900da39" providerId="ADAL" clId="{16DB6BFE-D4CB-4F72-9EB2-8A526B988724}" dt="2024-06-10T23:09:09.124" v="133" actId="12788"/>
        <pc:sldMkLst>
          <pc:docMk/>
          <pc:sldMk cId="1858117581" sldId="2147479281"/>
        </pc:sldMkLst>
        <pc:spChg chg="add mod ord">
          <ac:chgData name="Ohkuri, Takeharu(大栗 威晴)[He/Him]" userId="e2b91537-111a-43d0-b70f-217da900da39" providerId="ADAL" clId="{16DB6BFE-D4CB-4F72-9EB2-8A526B988724}" dt="2024-06-10T23:08:52.976" v="126" actId="20577"/>
          <ac:spMkLst>
            <pc:docMk/>
            <pc:sldMk cId="1858117581" sldId="2147479281"/>
            <ac:spMk id="2" creationId="{FA4DEA75-584F-0B06-1775-049AE97DEA78}"/>
          </ac:spMkLst>
        </pc:spChg>
        <pc:spChg chg="mod ord">
          <ac:chgData name="Ohkuri, Takeharu(大栗 威晴)[He/Him]" userId="e2b91537-111a-43d0-b70f-217da900da39" providerId="ADAL" clId="{16DB6BFE-D4CB-4F72-9EB2-8A526B988724}" dt="2024-06-10T23:08:42.888" v="120" actId="700"/>
          <ac:spMkLst>
            <pc:docMk/>
            <pc:sldMk cId="1858117581" sldId="2147479281"/>
            <ac:spMk id="4" creationId="{F4071964-3DE6-4A90-9B44-EA185DAA4656}"/>
          </ac:spMkLst>
        </pc:spChg>
        <pc:spChg chg="del">
          <ac:chgData name="Ohkuri, Takeharu(大栗 威晴)[He/Him]" userId="e2b91537-111a-43d0-b70f-217da900da39" providerId="ADAL" clId="{16DB6BFE-D4CB-4F72-9EB2-8A526B988724}" dt="2024-06-10T23:08:24.241" v="114" actId="478"/>
          <ac:spMkLst>
            <pc:docMk/>
            <pc:sldMk cId="1858117581" sldId="2147479281"/>
            <ac:spMk id="118" creationId="{B66EED8B-03D8-47FC-871F-50846380DD84}"/>
          </ac:spMkLst>
        </pc:spChg>
        <pc:spChg chg="del">
          <ac:chgData name="Ohkuri, Takeharu(大栗 威晴)[He/Him]" userId="e2b91537-111a-43d0-b70f-217da900da39" providerId="ADAL" clId="{16DB6BFE-D4CB-4F72-9EB2-8A526B988724}" dt="2024-06-10T23:08:31.562" v="116" actId="478"/>
          <ac:spMkLst>
            <pc:docMk/>
            <pc:sldMk cId="1858117581" sldId="2147479281"/>
            <ac:spMk id="120" creationId="{B5BE0AA0-1C7F-4455-9AED-E1337F17B050}"/>
          </ac:spMkLst>
        </pc:spChg>
        <pc:spChg chg="del mod">
          <ac:chgData name="Ohkuri, Takeharu(大栗 威晴)[He/Him]" userId="e2b91537-111a-43d0-b70f-217da900da39" providerId="ADAL" clId="{16DB6BFE-D4CB-4F72-9EB2-8A526B988724}" dt="2024-06-10T23:08:49.344" v="123" actId="478"/>
          <ac:spMkLst>
            <pc:docMk/>
            <pc:sldMk cId="1858117581" sldId="2147479281"/>
            <ac:spMk id="122" creationId="{493BA8F5-2B88-4653-BDAA-BC787A0B3510}"/>
          </ac:spMkLst>
        </pc:spChg>
        <pc:picChg chg="mod">
          <ac:chgData name="Ohkuri, Takeharu(大栗 威晴)[He/Him]" userId="e2b91537-111a-43d0-b70f-217da900da39" providerId="ADAL" clId="{16DB6BFE-D4CB-4F72-9EB2-8A526B988724}" dt="2024-06-10T23:09:09.124" v="133" actId="12788"/>
          <ac:picMkLst>
            <pc:docMk/>
            <pc:sldMk cId="1858117581" sldId="2147479281"/>
            <ac:picMk id="3" creationId="{04D2585C-1340-9755-13B2-FA2CBDCBDD93}"/>
          </ac:picMkLst>
        </pc:picChg>
        <pc:picChg chg="del">
          <ac:chgData name="Ohkuri, Takeharu(大栗 威晴)[He/Him]" userId="e2b91537-111a-43d0-b70f-217da900da39" providerId="ADAL" clId="{16DB6BFE-D4CB-4F72-9EB2-8A526B988724}" dt="2024-06-10T23:08:31.562" v="116" actId="478"/>
          <ac:picMkLst>
            <pc:docMk/>
            <pc:sldMk cId="1858117581" sldId="2147479281"/>
            <ac:picMk id="123" creationId="{1E455611-37C5-4702-89D2-A41AB7C7C24E}"/>
          </ac:picMkLst>
        </pc:picChg>
      </pc:sldChg>
      <pc:sldChg chg="addSp delSp modSp add del mod">
        <pc:chgData name="Ohkuri, Takeharu(大栗 威晴)[He/Him]" userId="e2b91537-111a-43d0-b70f-217da900da39" providerId="ADAL" clId="{16DB6BFE-D4CB-4F72-9EB2-8A526B988724}" dt="2024-06-05T00:28:48.719" v="111" actId="47"/>
        <pc:sldMkLst>
          <pc:docMk/>
          <pc:sldMk cId="2869888765" sldId="2147479282"/>
        </pc:sldMkLst>
        <pc:spChg chg="add mod">
          <ac:chgData name="Ohkuri, Takeharu(大栗 威晴)[He/Him]" userId="e2b91537-111a-43d0-b70f-217da900da39" providerId="ADAL" clId="{16DB6BFE-D4CB-4F72-9EB2-8A526B988724}" dt="2024-06-05T00:22:51.165" v="5" actId="1076"/>
          <ac:spMkLst>
            <pc:docMk/>
            <pc:sldMk cId="2869888765" sldId="2147479282"/>
            <ac:spMk id="2" creationId="{366C887E-546F-2245-BCB3-403AF5056508}"/>
          </ac:spMkLst>
        </pc:spChg>
        <pc:spChg chg="mod topLvl">
          <ac:chgData name="Ohkuri, Takeharu(大栗 威晴)[He/Him]" userId="e2b91537-111a-43d0-b70f-217da900da39" providerId="ADAL" clId="{16DB6BFE-D4CB-4F72-9EB2-8A526B988724}" dt="2024-06-05T00:26:05.084" v="24" actId="165"/>
          <ac:spMkLst>
            <pc:docMk/>
            <pc:sldMk cId="2869888765" sldId="2147479282"/>
            <ac:spMk id="10" creationId="{D005C573-B501-F219-7E3A-5751903FE94B}"/>
          </ac:spMkLst>
        </pc:spChg>
        <pc:grpChg chg="add mod">
          <ac:chgData name="Ohkuri, Takeharu(大栗 威晴)[He/Him]" userId="e2b91537-111a-43d0-b70f-217da900da39" providerId="ADAL" clId="{16DB6BFE-D4CB-4F72-9EB2-8A526B988724}" dt="2024-06-05T00:22:46.667" v="3" actId="1076"/>
          <ac:grpSpMkLst>
            <pc:docMk/>
            <pc:sldMk cId="2869888765" sldId="2147479282"/>
            <ac:grpSpMk id="3" creationId="{0F643146-DC91-F1F5-E0B4-AA7E883298EB}"/>
          </ac:grpSpMkLst>
        </pc:grpChg>
        <pc:grpChg chg="add del mod">
          <ac:chgData name="Ohkuri, Takeharu(大栗 威晴)[He/Him]" userId="e2b91537-111a-43d0-b70f-217da900da39" providerId="ADAL" clId="{16DB6BFE-D4CB-4F72-9EB2-8A526B988724}" dt="2024-06-05T00:26:05.084" v="24" actId="165"/>
          <ac:grpSpMkLst>
            <pc:docMk/>
            <pc:sldMk cId="2869888765" sldId="2147479282"/>
            <ac:grpSpMk id="7" creationId="{27B5639D-7B5B-D4AA-A2B1-F69852A1AD82}"/>
          </ac:grpSpMkLst>
        </pc:grpChg>
        <pc:picChg chg="mod">
          <ac:chgData name="Ohkuri, Takeharu(大栗 威晴)[He/Him]" userId="e2b91537-111a-43d0-b70f-217da900da39" providerId="ADAL" clId="{16DB6BFE-D4CB-4F72-9EB2-8A526B988724}" dt="2024-06-05T00:22:44.765" v="2"/>
          <ac:picMkLst>
            <pc:docMk/>
            <pc:sldMk cId="2869888765" sldId="2147479282"/>
            <ac:picMk id="5" creationId="{0228D6EA-1663-E190-55DC-A2F34CEC9AC9}"/>
          </ac:picMkLst>
        </pc:picChg>
        <pc:picChg chg="mod">
          <ac:chgData name="Ohkuri, Takeharu(大栗 威晴)[He/Him]" userId="e2b91537-111a-43d0-b70f-217da900da39" providerId="ADAL" clId="{16DB6BFE-D4CB-4F72-9EB2-8A526B988724}" dt="2024-06-05T00:22:44.765" v="2"/>
          <ac:picMkLst>
            <pc:docMk/>
            <pc:sldMk cId="2869888765" sldId="2147479282"/>
            <ac:picMk id="6" creationId="{7EF309B8-AAE1-82E0-444E-64DB4D0E9795}"/>
          </ac:picMkLst>
        </pc:picChg>
        <pc:picChg chg="mod topLvl">
          <ac:chgData name="Ohkuri, Takeharu(大栗 威晴)[He/Him]" userId="e2b91537-111a-43d0-b70f-217da900da39" providerId="ADAL" clId="{16DB6BFE-D4CB-4F72-9EB2-8A526B988724}" dt="2024-06-05T00:26:05.084" v="24" actId="165"/>
          <ac:picMkLst>
            <pc:docMk/>
            <pc:sldMk cId="2869888765" sldId="2147479282"/>
            <ac:picMk id="8" creationId="{1E10B445-C6F7-645C-D8EE-A3C9CB7B5598}"/>
          </ac:picMkLst>
        </pc:picChg>
        <pc:picChg chg="mod topLvl">
          <ac:chgData name="Ohkuri, Takeharu(大栗 威晴)[He/Him]" userId="e2b91537-111a-43d0-b70f-217da900da39" providerId="ADAL" clId="{16DB6BFE-D4CB-4F72-9EB2-8A526B988724}" dt="2024-06-05T00:26:05.084" v="24" actId="165"/>
          <ac:picMkLst>
            <pc:docMk/>
            <pc:sldMk cId="2869888765" sldId="2147479282"/>
            <ac:picMk id="9" creationId="{7AB11156-49F1-FE10-6758-F5414B3DAD11}"/>
          </ac:picMkLst>
        </pc:picChg>
        <pc:picChg chg="del">
          <ac:chgData name="Ohkuri, Takeharu(大栗 威晴)[He/Him]" userId="e2b91537-111a-43d0-b70f-217da900da39" providerId="ADAL" clId="{16DB6BFE-D4CB-4F72-9EB2-8A526B988724}" dt="2024-06-05T00:22:34.359" v="1" actId="478"/>
          <ac:picMkLst>
            <pc:docMk/>
            <pc:sldMk cId="2869888765" sldId="2147479282"/>
            <ac:picMk id="11" creationId="{858CEB64-F789-7B91-4E87-6C80F220C15B}"/>
          </ac:picMkLst>
        </pc:picChg>
      </pc:sldChg>
      <pc:sldChg chg="addSp delSp modSp add mod">
        <pc:chgData name="Ohkuri, Takeharu(大栗 威晴)[He/Him]" userId="e2b91537-111a-43d0-b70f-217da900da39" providerId="ADAL" clId="{16DB6BFE-D4CB-4F72-9EB2-8A526B988724}" dt="2024-06-05T00:28:45.905" v="110" actId="1036"/>
        <pc:sldMkLst>
          <pc:docMk/>
          <pc:sldMk cId="2606745698" sldId="2147479283"/>
        </pc:sldMkLst>
        <pc:spChg chg="mod">
          <ac:chgData name="Ohkuri, Takeharu(大栗 威晴)[He/Him]" userId="e2b91537-111a-43d0-b70f-217da900da39" providerId="ADAL" clId="{16DB6BFE-D4CB-4F72-9EB2-8A526B988724}" dt="2024-06-05T00:28:39.440" v="98" actId="1036"/>
          <ac:spMkLst>
            <pc:docMk/>
            <pc:sldMk cId="2606745698" sldId="2147479283"/>
            <ac:spMk id="2" creationId="{366C887E-546F-2245-BCB3-403AF5056508}"/>
          </ac:spMkLst>
        </pc:spChg>
        <pc:spChg chg="add mod">
          <ac:chgData name="Ohkuri, Takeharu(大栗 威晴)[He/Him]" userId="e2b91537-111a-43d0-b70f-217da900da39" providerId="ADAL" clId="{16DB6BFE-D4CB-4F72-9EB2-8A526B988724}" dt="2024-06-05T00:28:45.905" v="110" actId="1036"/>
          <ac:spMkLst>
            <pc:docMk/>
            <pc:sldMk cId="2606745698" sldId="2147479283"/>
            <ac:spMk id="16" creationId="{BEE328EB-1311-B2E2-FBEA-1F7F869F9D6C}"/>
          </ac:spMkLst>
        </pc:spChg>
        <pc:grpChg chg="del">
          <ac:chgData name="Ohkuri, Takeharu(大栗 威晴)[He/Him]" userId="e2b91537-111a-43d0-b70f-217da900da39" providerId="ADAL" clId="{16DB6BFE-D4CB-4F72-9EB2-8A526B988724}" dt="2024-06-05T00:24:15.014" v="7" actId="478"/>
          <ac:grpSpMkLst>
            <pc:docMk/>
            <pc:sldMk cId="2606745698" sldId="2147479283"/>
            <ac:grpSpMk id="3" creationId="{0F643146-DC91-F1F5-E0B4-AA7E883298EB}"/>
          </ac:grpSpMkLst>
        </pc:grpChg>
        <pc:grpChg chg="del">
          <ac:chgData name="Ohkuri, Takeharu(大栗 威晴)[He/Him]" userId="e2b91537-111a-43d0-b70f-217da900da39" providerId="ADAL" clId="{16DB6BFE-D4CB-4F72-9EB2-8A526B988724}" dt="2024-06-05T00:24:17.628" v="8" actId="478"/>
          <ac:grpSpMkLst>
            <pc:docMk/>
            <pc:sldMk cId="2606745698" sldId="2147479283"/>
            <ac:grpSpMk id="7" creationId="{27B5639D-7B5B-D4AA-A2B1-F69852A1AD82}"/>
          </ac:grpSpMkLst>
        </pc:grpChg>
        <pc:picChg chg="add mod">
          <ac:chgData name="Ohkuri, Takeharu(大栗 威晴)[He/Him]" userId="e2b91537-111a-43d0-b70f-217da900da39" providerId="ADAL" clId="{16DB6BFE-D4CB-4F72-9EB2-8A526B988724}" dt="2024-06-05T00:28:45.905" v="110" actId="1036"/>
          <ac:picMkLst>
            <pc:docMk/>
            <pc:sldMk cId="2606745698" sldId="2147479283"/>
            <ac:picMk id="12" creationId="{CD3AB9DF-3911-7F37-7E19-FBFA3290EB2D}"/>
          </ac:picMkLst>
        </pc:picChg>
        <pc:picChg chg="add mod">
          <ac:chgData name="Ohkuri, Takeharu(大栗 威晴)[He/Him]" userId="e2b91537-111a-43d0-b70f-217da900da39" providerId="ADAL" clId="{16DB6BFE-D4CB-4F72-9EB2-8A526B988724}" dt="2024-06-05T00:28:45.905" v="110" actId="1036"/>
          <ac:picMkLst>
            <pc:docMk/>
            <pc:sldMk cId="2606745698" sldId="2147479283"/>
            <ac:picMk id="14" creationId="{F5F0E58F-847D-8130-3F5A-EC84C8C09D9A}"/>
          </ac:picMkLst>
        </pc:picChg>
        <pc:picChg chg="add mod">
          <ac:chgData name="Ohkuri, Takeharu(大栗 威晴)[He/Him]" userId="e2b91537-111a-43d0-b70f-217da900da39" providerId="ADAL" clId="{16DB6BFE-D4CB-4F72-9EB2-8A526B988724}" dt="2024-06-05T00:28:45.905" v="110" actId="1036"/>
          <ac:picMkLst>
            <pc:docMk/>
            <pc:sldMk cId="2606745698" sldId="2147479283"/>
            <ac:picMk id="15" creationId="{575BF850-8ABA-9E8C-927F-A7FC1113CF99}"/>
          </ac:picMkLst>
        </pc:picChg>
      </pc:sldChg>
      <pc:sldChg chg="delSp modSp add mod">
        <pc:chgData name="Ohkuri, Takeharu(大栗 威晴)[He/Him]" userId="e2b91537-111a-43d0-b70f-217da900da39" providerId="ADAL" clId="{16DB6BFE-D4CB-4F72-9EB2-8A526B988724}" dt="2024-06-10T23:13:10.529" v="150" actId="1036"/>
        <pc:sldMkLst>
          <pc:docMk/>
          <pc:sldMk cId="2777364480" sldId="2147479284"/>
        </pc:sldMkLst>
        <pc:spChg chg="mod">
          <ac:chgData name="Ohkuri, Takeharu(大栗 威晴)[He/Him]" userId="e2b91537-111a-43d0-b70f-217da900da39" providerId="ADAL" clId="{16DB6BFE-D4CB-4F72-9EB2-8A526B988724}" dt="2024-06-10T23:12:47.241" v="137" actId="20577"/>
          <ac:spMkLst>
            <pc:docMk/>
            <pc:sldMk cId="2777364480" sldId="2147479284"/>
            <ac:spMk id="4" creationId="{F4071964-3DE6-4A90-9B44-EA185DAA4656}"/>
          </ac:spMkLst>
        </pc:spChg>
        <pc:spChg chg="del">
          <ac:chgData name="Ohkuri, Takeharu(大栗 威晴)[He/Him]" userId="e2b91537-111a-43d0-b70f-217da900da39" providerId="ADAL" clId="{16DB6BFE-D4CB-4F72-9EB2-8A526B988724}" dt="2024-06-10T23:09:23.011" v="135" actId="478"/>
          <ac:spMkLst>
            <pc:docMk/>
            <pc:sldMk cId="2777364480" sldId="2147479284"/>
            <ac:spMk id="118" creationId="{B66EED8B-03D8-47FC-871F-50846380DD84}"/>
          </ac:spMkLst>
        </pc:spChg>
        <pc:spChg chg="del">
          <ac:chgData name="Ohkuri, Takeharu(大栗 威晴)[He/Him]" userId="e2b91537-111a-43d0-b70f-217da900da39" providerId="ADAL" clId="{16DB6BFE-D4CB-4F72-9EB2-8A526B988724}" dt="2024-06-10T23:12:49.867" v="138" actId="478"/>
          <ac:spMkLst>
            <pc:docMk/>
            <pc:sldMk cId="2777364480" sldId="2147479284"/>
            <ac:spMk id="120" creationId="{B5BE0AA0-1C7F-4455-9AED-E1337F17B050}"/>
          </ac:spMkLst>
        </pc:spChg>
        <pc:spChg chg="del">
          <ac:chgData name="Ohkuri, Takeharu(大栗 威晴)[He/Him]" userId="e2b91537-111a-43d0-b70f-217da900da39" providerId="ADAL" clId="{16DB6BFE-D4CB-4F72-9EB2-8A526B988724}" dt="2024-06-10T23:09:23.011" v="135" actId="478"/>
          <ac:spMkLst>
            <pc:docMk/>
            <pc:sldMk cId="2777364480" sldId="2147479284"/>
            <ac:spMk id="122" creationId="{493BA8F5-2B88-4653-BDAA-BC787A0B3510}"/>
          </ac:spMkLst>
        </pc:spChg>
        <pc:picChg chg="del">
          <ac:chgData name="Ohkuri, Takeharu(大栗 威晴)[He/Him]" userId="e2b91537-111a-43d0-b70f-217da900da39" providerId="ADAL" clId="{16DB6BFE-D4CB-4F72-9EB2-8A526B988724}" dt="2024-06-10T23:09:23.011" v="135" actId="478"/>
          <ac:picMkLst>
            <pc:docMk/>
            <pc:sldMk cId="2777364480" sldId="2147479284"/>
            <ac:picMk id="3" creationId="{04D2585C-1340-9755-13B2-FA2CBDCBDD93}"/>
          </ac:picMkLst>
        </pc:picChg>
        <pc:picChg chg="mod">
          <ac:chgData name="Ohkuri, Takeharu(大栗 威晴)[He/Him]" userId="e2b91537-111a-43d0-b70f-217da900da39" providerId="ADAL" clId="{16DB6BFE-D4CB-4F72-9EB2-8A526B988724}" dt="2024-06-10T23:13:10.529" v="150" actId="1036"/>
          <ac:picMkLst>
            <pc:docMk/>
            <pc:sldMk cId="2777364480" sldId="2147479284"/>
            <ac:picMk id="123" creationId="{1E455611-37C5-4702-89D2-A41AB7C7C24E}"/>
          </ac:picMkLst>
        </pc:picChg>
      </pc:sldChg>
    </pc:docChg>
  </pc:docChgLst>
  <pc:docChgLst>
    <pc:chgData name="Ohkuri, Takeharu(大栗 威晴)[He/Him]" userId="e2b91537-111a-43d0-b70f-217da900da39" providerId="ADAL" clId="{2BF11E00-AA00-4D20-BACA-C8DE7CAA12B5}"/>
    <pc:docChg chg="undo custSel addSld delSld modSld">
      <pc:chgData name="Ohkuri, Takeharu(大栗 威晴)[He/Him]" userId="e2b91537-111a-43d0-b70f-217da900da39" providerId="ADAL" clId="{2BF11E00-AA00-4D20-BACA-C8DE7CAA12B5}" dt="2024-04-05T09:43:08.653" v="235" actId="47"/>
      <pc:docMkLst>
        <pc:docMk/>
      </pc:docMkLst>
      <pc:sldChg chg="del">
        <pc:chgData name="Ohkuri, Takeharu(大栗 威晴)[He/Him]" userId="e2b91537-111a-43d0-b70f-217da900da39" providerId="ADAL" clId="{2BF11E00-AA00-4D20-BACA-C8DE7CAA12B5}" dt="2024-04-05T09:40:11.413" v="0" actId="47"/>
        <pc:sldMkLst>
          <pc:docMk/>
          <pc:sldMk cId="3984801671" sldId="2147479252"/>
        </pc:sldMkLst>
      </pc:sldChg>
      <pc:sldChg chg="addSp delSp modSp new del mod modClrScheme chgLayout">
        <pc:chgData name="Ohkuri, Takeharu(大栗 威晴)[He/Him]" userId="e2b91537-111a-43d0-b70f-217da900da39" providerId="ADAL" clId="{2BF11E00-AA00-4D20-BACA-C8DE7CAA12B5}" dt="2024-04-05T09:43:08.653" v="235" actId="47"/>
        <pc:sldMkLst>
          <pc:docMk/>
          <pc:sldMk cId="3823769221" sldId="2147479282"/>
        </pc:sldMkLst>
        <pc:spChg chg="del mod ord">
          <ac:chgData name="Ohkuri, Takeharu(大栗 威晴)[He/Him]" userId="e2b91537-111a-43d0-b70f-217da900da39" providerId="ADAL" clId="{2BF11E00-AA00-4D20-BACA-C8DE7CAA12B5}" dt="2024-04-05T09:40:33.193" v="2" actId="700"/>
          <ac:spMkLst>
            <pc:docMk/>
            <pc:sldMk cId="3823769221" sldId="2147479282"/>
            <ac:spMk id="2" creationId="{F58DB947-77AC-1124-BAF3-18C8D0ECAD5F}"/>
          </ac:spMkLst>
        </pc:spChg>
        <pc:spChg chg="del">
          <ac:chgData name="Ohkuri, Takeharu(大栗 威晴)[He/Him]" userId="e2b91537-111a-43d0-b70f-217da900da39" providerId="ADAL" clId="{2BF11E00-AA00-4D20-BACA-C8DE7CAA12B5}" dt="2024-04-05T09:40:33.193" v="2" actId="700"/>
          <ac:spMkLst>
            <pc:docMk/>
            <pc:sldMk cId="3823769221" sldId="2147479282"/>
            <ac:spMk id="3" creationId="{81FDDA2B-01B5-B1D4-D561-34389881FBD1}"/>
          </ac:spMkLst>
        </pc:spChg>
        <pc:spChg chg="del">
          <ac:chgData name="Ohkuri, Takeharu(大栗 威晴)[He/Him]" userId="e2b91537-111a-43d0-b70f-217da900da39" providerId="ADAL" clId="{2BF11E00-AA00-4D20-BACA-C8DE7CAA12B5}" dt="2024-04-05T09:40:33.193" v="2" actId="700"/>
          <ac:spMkLst>
            <pc:docMk/>
            <pc:sldMk cId="3823769221" sldId="2147479282"/>
            <ac:spMk id="4" creationId="{8EF4F0CE-EAEC-DAD2-94AA-B05AAC085D14}"/>
          </ac:spMkLst>
        </pc:spChg>
        <pc:spChg chg="add del mod ord">
          <ac:chgData name="Ohkuri, Takeharu(大栗 威晴)[He/Him]" userId="e2b91537-111a-43d0-b70f-217da900da39" providerId="ADAL" clId="{2BF11E00-AA00-4D20-BACA-C8DE7CAA12B5}" dt="2024-04-05T09:40:37.691" v="3" actId="700"/>
          <ac:spMkLst>
            <pc:docMk/>
            <pc:sldMk cId="3823769221" sldId="2147479282"/>
            <ac:spMk id="5" creationId="{53384850-785B-BFEA-1FE7-8FEF673F3686}"/>
          </ac:spMkLst>
        </pc:spChg>
        <pc:spChg chg="add mod ord">
          <ac:chgData name="Ohkuri, Takeharu(大栗 威晴)[He/Him]" userId="e2b91537-111a-43d0-b70f-217da900da39" providerId="ADAL" clId="{2BF11E00-AA00-4D20-BACA-C8DE7CAA12B5}" dt="2024-04-05T09:41:19.750" v="19" actId="20577"/>
          <ac:spMkLst>
            <pc:docMk/>
            <pc:sldMk cId="3823769221" sldId="2147479282"/>
            <ac:spMk id="6" creationId="{10753B96-14CF-C000-099D-1984B64FDDDB}"/>
          </ac:spMkLst>
        </pc:spChg>
        <pc:spChg chg="add mod ord">
          <ac:chgData name="Ohkuri, Takeharu(大栗 威晴)[He/Him]" userId="e2b91537-111a-43d0-b70f-217da900da39" providerId="ADAL" clId="{2BF11E00-AA00-4D20-BACA-C8DE7CAA12B5}" dt="2024-04-05T09:43:02.317" v="234" actId="20577"/>
          <ac:spMkLst>
            <pc:docMk/>
            <pc:sldMk cId="3823769221" sldId="2147479282"/>
            <ac:spMk id="7" creationId="{047B9B36-E7DF-F6D1-1C4D-C85D47FB2F04}"/>
          </ac:spMkLst>
        </pc:spChg>
      </pc:sldChg>
    </pc:docChg>
  </pc:docChgLst>
  <pc:docChgLst>
    <pc:chgData name="Ohkuri, Takeharu(大栗 威晴)[He/Him]" userId="e2b91537-111a-43d0-b70f-217da900da39" providerId="ADAL" clId="{E2A6751B-2A37-430D-A77A-B69144CD6DFB}"/>
    <pc:docChg chg="undo custSel modSld">
      <pc:chgData name="Ohkuri, Takeharu(大栗 威晴)[He/Him]" userId="e2b91537-111a-43d0-b70f-217da900da39" providerId="ADAL" clId="{E2A6751B-2A37-430D-A77A-B69144CD6DFB}" dt="2024-05-17T05:02:23.622" v="131" actId="1036"/>
      <pc:docMkLst>
        <pc:docMk/>
      </pc:docMkLst>
      <pc:sldChg chg="addSp delSp modSp mod">
        <pc:chgData name="Ohkuri, Takeharu(大栗 威晴)[He/Him]" userId="e2b91537-111a-43d0-b70f-217da900da39" providerId="ADAL" clId="{E2A6751B-2A37-430D-A77A-B69144CD6DFB}" dt="2024-05-17T05:02:23.622" v="131" actId="1036"/>
        <pc:sldMkLst>
          <pc:docMk/>
          <pc:sldMk cId="2641679636" sldId="2147479258"/>
        </pc:sldMkLst>
        <pc:spChg chg="add del mod">
          <ac:chgData name="Ohkuri, Takeharu(大栗 威晴)[He/Him]" userId="e2b91537-111a-43d0-b70f-217da900da39" providerId="ADAL" clId="{E2A6751B-2A37-430D-A77A-B69144CD6DFB}" dt="2024-05-17T05:00:11.160" v="122" actId="478"/>
          <ac:spMkLst>
            <pc:docMk/>
            <pc:sldMk cId="2641679636" sldId="2147479258"/>
            <ac:spMk id="7" creationId="{91349A9A-A41E-AA41-BEB8-69C3EB0DA12C}"/>
          </ac:spMkLst>
        </pc:spChg>
        <pc:spChg chg="add del mod">
          <ac:chgData name="Ohkuri, Takeharu(大栗 威晴)[He/Him]" userId="e2b91537-111a-43d0-b70f-217da900da39" providerId="ADAL" clId="{E2A6751B-2A37-430D-A77A-B69144CD6DFB}" dt="2024-05-17T05:00:07.396" v="119"/>
          <ac:spMkLst>
            <pc:docMk/>
            <pc:sldMk cId="2641679636" sldId="2147479258"/>
            <ac:spMk id="9" creationId="{D123592E-64EB-6FE1-684B-92A015BC6774}"/>
          </ac:spMkLst>
        </pc:spChg>
        <pc:picChg chg="add del mod">
          <ac:chgData name="Ohkuri, Takeharu(大栗 威晴)[He/Him]" userId="e2b91537-111a-43d0-b70f-217da900da39" providerId="ADAL" clId="{E2A6751B-2A37-430D-A77A-B69144CD6DFB}" dt="2024-05-17T05:00:12.570" v="123" actId="478"/>
          <ac:picMkLst>
            <pc:docMk/>
            <pc:sldMk cId="2641679636" sldId="2147479258"/>
            <ac:picMk id="3" creationId="{402F1A65-DF6B-11E4-4F57-D54D89BD7024}"/>
          </ac:picMkLst>
        </pc:picChg>
        <pc:picChg chg="del mod">
          <ac:chgData name="Ohkuri, Takeharu(大栗 威晴)[He/Him]" userId="e2b91537-111a-43d0-b70f-217da900da39" providerId="ADAL" clId="{E2A6751B-2A37-430D-A77A-B69144CD6DFB}" dt="2024-05-17T04:58:11.301" v="91" actId="478"/>
          <ac:picMkLst>
            <pc:docMk/>
            <pc:sldMk cId="2641679636" sldId="2147479258"/>
            <ac:picMk id="6" creationId="{EA198CE5-2E98-4297-9EFB-6887F6CDA0EE}"/>
          </ac:picMkLst>
        </pc:picChg>
        <pc:picChg chg="add del mod">
          <ac:chgData name="Ohkuri, Takeharu(大栗 威晴)[He/Him]" userId="e2b91537-111a-43d0-b70f-217da900da39" providerId="ADAL" clId="{E2A6751B-2A37-430D-A77A-B69144CD6DFB}" dt="2024-05-17T05:00:07.396" v="119"/>
          <ac:picMkLst>
            <pc:docMk/>
            <pc:sldMk cId="2641679636" sldId="2147479258"/>
            <ac:picMk id="8" creationId="{B5B8F949-5B67-16BF-51AE-1B14EEEE6730}"/>
          </ac:picMkLst>
        </pc:picChg>
        <pc:picChg chg="add mod">
          <ac:chgData name="Ohkuri, Takeharu(大栗 威晴)[He/Him]" userId="e2b91537-111a-43d0-b70f-217da900da39" providerId="ADAL" clId="{E2A6751B-2A37-430D-A77A-B69144CD6DFB}" dt="2024-05-17T05:02:23.622" v="131" actId="1036"/>
          <ac:picMkLst>
            <pc:docMk/>
            <pc:sldMk cId="2641679636" sldId="2147479258"/>
            <ac:picMk id="10" creationId="{4D7BA239-5028-5A37-3DD6-0F9772075F85}"/>
          </ac:picMkLst>
        </pc:picChg>
      </pc:sldChg>
      <pc:sldChg chg="addSp delSp modSp mod">
        <pc:chgData name="Ohkuri, Takeharu(大栗 威晴)[He/Him]" userId="e2b91537-111a-43d0-b70f-217da900da39" providerId="ADAL" clId="{E2A6751B-2A37-430D-A77A-B69144CD6DFB}" dt="2024-05-17T04:46:20.090" v="86" actId="1076"/>
        <pc:sldMkLst>
          <pc:docMk/>
          <pc:sldMk cId="2101417253" sldId="2147479260"/>
        </pc:sldMkLst>
        <pc:spChg chg="add del mod">
          <ac:chgData name="Ohkuri, Takeharu(大栗 威晴)[He/Him]" userId="e2b91537-111a-43d0-b70f-217da900da39" providerId="ADAL" clId="{E2A6751B-2A37-430D-A77A-B69144CD6DFB}" dt="2024-05-17T04:42:07.115" v="29"/>
          <ac:spMkLst>
            <pc:docMk/>
            <pc:sldMk cId="2101417253" sldId="2147479260"/>
            <ac:spMk id="2" creationId="{4978D4D9-90B3-5393-E0D4-D1686E50D73F}"/>
          </ac:spMkLst>
        </pc:spChg>
        <pc:spChg chg="add mod">
          <ac:chgData name="Ohkuri, Takeharu(大栗 威晴)[He/Him]" userId="e2b91537-111a-43d0-b70f-217da900da39" providerId="ADAL" clId="{E2A6751B-2A37-430D-A77A-B69144CD6DFB}" dt="2024-05-17T04:45:47.510" v="76" actId="164"/>
          <ac:spMkLst>
            <pc:docMk/>
            <pc:sldMk cId="2101417253" sldId="2147479260"/>
            <ac:spMk id="5" creationId="{64CDEAAE-E77D-BE74-6799-1D77DF2D4D35}"/>
          </ac:spMkLst>
        </pc:spChg>
        <pc:spChg chg="mod">
          <ac:chgData name="Ohkuri, Takeharu(大栗 威晴)[He/Him]" userId="e2b91537-111a-43d0-b70f-217da900da39" providerId="ADAL" clId="{E2A6751B-2A37-430D-A77A-B69144CD6DFB}" dt="2024-05-17T04:45:54.742" v="77"/>
          <ac:spMkLst>
            <pc:docMk/>
            <pc:sldMk cId="2101417253" sldId="2147479260"/>
            <ac:spMk id="10" creationId="{83EB06EF-C794-5E97-9A85-21A7CD5F10EF}"/>
          </ac:spMkLst>
        </pc:spChg>
        <pc:grpChg chg="add del mod">
          <ac:chgData name="Ohkuri, Takeharu(大栗 威晴)[He/Him]" userId="e2b91537-111a-43d0-b70f-217da900da39" providerId="ADAL" clId="{E2A6751B-2A37-430D-A77A-B69144CD6DFB}" dt="2024-05-17T04:46:00.983" v="81" actId="478"/>
          <ac:grpSpMkLst>
            <pc:docMk/>
            <pc:sldMk cId="2101417253" sldId="2147479260"/>
            <ac:grpSpMk id="6" creationId="{82AEF4E5-046F-4B00-DB69-AD3FD29CBC99}"/>
          </ac:grpSpMkLst>
        </pc:grpChg>
        <pc:grpChg chg="add del mod">
          <ac:chgData name="Ohkuri, Takeharu(大栗 威晴)[He/Him]" userId="e2b91537-111a-43d0-b70f-217da900da39" providerId="ADAL" clId="{E2A6751B-2A37-430D-A77A-B69144CD6DFB}" dt="2024-05-17T04:45:57.769" v="78"/>
          <ac:grpSpMkLst>
            <pc:docMk/>
            <pc:sldMk cId="2101417253" sldId="2147479260"/>
            <ac:grpSpMk id="7" creationId="{4E118887-CF82-F1EA-9A3D-53DC8E281675}"/>
          </ac:grpSpMkLst>
        </pc:grpChg>
        <pc:picChg chg="add del">
          <ac:chgData name="Ohkuri, Takeharu(大栗 威晴)[He/Him]" userId="e2b91537-111a-43d0-b70f-217da900da39" providerId="ADAL" clId="{E2A6751B-2A37-430D-A77A-B69144CD6DFB}" dt="2024-05-17T04:42:17.915" v="33" actId="478"/>
          <ac:picMkLst>
            <pc:docMk/>
            <pc:sldMk cId="2101417253" sldId="2147479260"/>
            <ac:picMk id="3" creationId="{0699B200-002F-46D3-C779-F40D148FA372}"/>
          </ac:picMkLst>
        </pc:picChg>
        <pc:picChg chg="mod">
          <ac:chgData name="Ohkuri, Takeharu(大栗 威晴)[He/Him]" userId="e2b91537-111a-43d0-b70f-217da900da39" providerId="ADAL" clId="{E2A6751B-2A37-430D-A77A-B69144CD6DFB}" dt="2024-05-17T04:45:54.742" v="77"/>
          <ac:picMkLst>
            <pc:docMk/>
            <pc:sldMk cId="2101417253" sldId="2147479260"/>
            <ac:picMk id="8" creationId="{E155D025-8973-0003-3968-8FC16FA9A076}"/>
          </ac:picMkLst>
        </pc:picChg>
        <pc:picChg chg="mod">
          <ac:chgData name="Ohkuri, Takeharu(大栗 威晴)[He/Him]" userId="e2b91537-111a-43d0-b70f-217da900da39" providerId="ADAL" clId="{E2A6751B-2A37-430D-A77A-B69144CD6DFB}" dt="2024-05-17T04:45:47.510" v="76" actId="164"/>
          <ac:picMkLst>
            <pc:docMk/>
            <pc:sldMk cId="2101417253" sldId="2147479260"/>
            <ac:picMk id="9" creationId="{59E6794C-BDB5-4D7F-BCED-A406605E34C1}"/>
          </ac:picMkLst>
        </pc:picChg>
        <pc:picChg chg="add mod">
          <ac:chgData name="Ohkuri, Takeharu(大栗 威晴)[He/Him]" userId="e2b91537-111a-43d0-b70f-217da900da39" providerId="ADAL" clId="{E2A6751B-2A37-430D-A77A-B69144CD6DFB}" dt="2024-05-17T04:46:20.090" v="86" actId="1076"/>
          <ac:picMkLst>
            <pc:docMk/>
            <pc:sldMk cId="2101417253" sldId="2147479260"/>
            <ac:picMk id="11" creationId="{858CEB64-F789-7B91-4E87-6C80F220C15B}"/>
          </ac:picMkLst>
        </pc:picChg>
      </pc:sldChg>
      <pc:sldChg chg="addSp delSp modSp mod">
        <pc:chgData name="Ohkuri, Takeharu(大栗 威晴)[He/Him]" userId="e2b91537-111a-43d0-b70f-217da900da39" providerId="ADAL" clId="{E2A6751B-2A37-430D-A77A-B69144CD6DFB}" dt="2024-05-17T04:40:40.062" v="26" actId="1035"/>
        <pc:sldMkLst>
          <pc:docMk/>
          <pc:sldMk cId="1858117581" sldId="2147479281"/>
        </pc:sldMkLst>
        <pc:spChg chg="mod">
          <ac:chgData name="Ohkuri, Takeharu(大栗 威晴)[He/Him]" userId="e2b91537-111a-43d0-b70f-217da900da39" providerId="ADAL" clId="{E2A6751B-2A37-430D-A77A-B69144CD6DFB}" dt="2024-05-17T04:40:40.062" v="26" actId="1035"/>
          <ac:spMkLst>
            <pc:docMk/>
            <pc:sldMk cId="1858117581" sldId="2147479281"/>
            <ac:spMk id="122" creationId="{493BA8F5-2B88-4653-BDAA-BC787A0B3510}"/>
          </ac:spMkLst>
        </pc:spChg>
        <pc:picChg chg="add mod">
          <ac:chgData name="Ohkuri, Takeharu(大栗 威晴)[He/Him]" userId="e2b91537-111a-43d0-b70f-217da900da39" providerId="ADAL" clId="{E2A6751B-2A37-430D-A77A-B69144CD6DFB}" dt="2024-05-17T04:40:32.445" v="13" actId="1076"/>
          <ac:picMkLst>
            <pc:docMk/>
            <pc:sldMk cId="1858117581" sldId="2147479281"/>
            <ac:picMk id="3" creationId="{04D2585C-1340-9755-13B2-FA2CBDCBDD93}"/>
          </ac:picMkLst>
        </pc:picChg>
        <pc:picChg chg="del">
          <ac:chgData name="Ohkuri, Takeharu(大栗 威晴)[He/Him]" userId="e2b91537-111a-43d0-b70f-217da900da39" providerId="ADAL" clId="{E2A6751B-2A37-430D-A77A-B69144CD6DFB}" dt="2024-05-17T04:40:01.314" v="0" actId="478"/>
          <ac:picMkLst>
            <pc:docMk/>
            <pc:sldMk cId="1858117581" sldId="2147479281"/>
            <ac:picMk id="116" creationId="{0D07B474-1D66-42B4-ABD4-019F10DE518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2DCAD5FC-E9EE-44B7-849C-0D9D86695C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6888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873F2C88-E5A0-4AD8-A867-16F43DA21B3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9275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3AB97B-089A-47AC-88B6-AB475E44A254}" type="datetimeFigureOut">
              <a:rPr kumimoji="1" lang="ja-JP" altLang="en-US" smtClean="0"/>
              <a:t>2024/6/1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035A6E9-C5A1-4CBC-9FA8-2F682EEAB4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65888"/>
            <a:ext cx="4306888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677EC38-D852-4CB0-8C73-851242F39A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9275" y="6465888"/>
            <a:ext cx="430847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F36F55-F763-4C49-99F8-8F3490B3E4C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47227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9703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r">
              <a:defRPr sz="1100"/>
            </a:lvl1pPr>
          </a:lstStyle>
          <a:p>
            <a:fld id="{58BA44E0-4508-4A5D-A49D-84FC45113B8F}" type="datetimeFigureOut">
              <a:rPr lang="en-US" smtClean="0"/>
              <a:t>6/1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8938" y="850900"/>
            <a:ext cx="4081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376" tIns="40188" rIns="80376" bIns="401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934" y="3275966"/>
            <a:ext cx="7951470" cy="2680335"/>
          </a:xfrm>
          <a:prstGeom prst="rect">
            <a:avLst/>
          </a:prstGeom>
        </p:spPr>
        <p:txBody>
          <a:bodyPr vert="horz" lIns="80376" tIns="40188" rIns="80376" bIns="401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703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r">
              <a:defRPr sz="1100"/>
            </a:lvl1pPr>
          </a:lstStyle>
          <a:p>
            <a:fld id="{15E0BA69-99FD-48BD-98F4-6BD1838056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654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scollege.jp/classroom/diagnosis.html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>
                <a:hlinkClick r:id="rId3"/>
              </a:rPr>
              <a:t>骨粗鬆症の診断｜</a:t>
            </a:r>
            <a:r>
              <a:rPr lang="en-US" altLang="ja-JP" dirty="0">
                <a:hlinkClick r:id="rId3"/>
              </a:rPr>
              <a:t>FLS college </a:t>
            </a:r>
            <a:r>
              <a:rPr lang="ja-JP" altLang="en-US" dirty="0">
                <a:hlinkClick r:id="rId3"/>
              </a:rPr>
              <a:t>～二次骨折ゼロを目指して、私たちができること｜</a:t>
            </a:r>
            <a:r>
              <a:rPr lang="en-US" altLang="ja-JP" dirty="0">
                <a:hlinkClick r:id="rId3"/>
              </a:rPr>
              <a:t>UCB</a:t>
            </a:r>
            <a:endParaRPr lang="en-US" altLang="ja-JP" dirty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0BA69-99FD-48BD-98F4-6BD18380566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267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80999" y="1542443"/>
            <a:ext cx="11357113" cy="216715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kumimoji="0" lang="en-US" sz="4800" b="1" i="0" u="none" strike="noStrike" kern="0" cap="all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/>
              <a:t>Presentation Templat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81000" y="3757654"/>
            <a:ext cx="6343650" cy="531558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2400" b="0" kern="1200" dirty="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1000" y="4336109"/>
            <a:ext cx="6343650" cy="1196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6B4EBAFB-766D-4895-962F-A0128B3FC4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918" y="396058"/>
            <a:ext cx="3280580" cy="898049"/>
          </a:xfrm>
          <a:prstGeom prst="rect">
            <a:avLst/>
          </a:prstGeom>
        </p:spPr>
      </p:pic>
      <p:grpSp>
        <p:nvGrpSpPr>
          <p:cNvPr id="8" name="Group 4">
            <a:extLst>
              <a:ext uri="{FF2B5EF4-FFF2-40B4-BE49-F238E27FC236}">
                <a16:creationId xmlns:a16="http://schemas.microsoft.com/office/drawing/2014/main" id="{5EB4D431-C88F-423D-A7A7-D82C172511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7620" y="4613251"/>
            <a:ext cx="12207240" cy="1785944"/>
            <a:chOff x="0" y="4613251"/>
            <a:chExt cx="12192000" cy="1783714"/>
          </a:xfrm>
        </p:grpSpPr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BFD144D4-69D6-4D2E-969B-4ABF1EC28819}"/>
                </a:ext>
              </a:extLst>
            </p:cNvPr>
            <p:cNvSpPr/>
            <p:nvPr userDrawn="1"/>
          </p:nvSpPr>
          <p:spPr>
            <a:xfrm>
              <a:off x="0" y="4613251"/>
              <a:ext cx="12192000" cy="1783714"/>
            </a:xfrm>
            <a:custGeom>
              <a:avLst/>
              <a:gdLst/>
              <a:ahLst/>
              <a:cxnLst/>
              <a:rect l="l" t="t" r="r" b="b"/>
              <a:pathLst>
                <a:path w="12192000" h="1783714">
                  <a:moveTo>
                    <a:pt x="0" y="1669073"/>
                  </a:moveTo>
                  <a:lnTo>
                    <a:pt x="43521" y="1675430"/>
                  </a:lnTo>
                  <a:lnTo>
                    <a:pt x="90906" y="1682117"/>
                  </a:lnTo>
                  <a:lnTo>
                    <a:pt x="138340" y="1688577"/>
                  </a:lnTo>
                  <a:lnTo>
                    <a:pt x="185821" y="1694813"/>
                  </a:lnTo>
                  <a:lnTo>
                    <a:pt x="233351" y="1700825"/>
                  </a:lnTo>
                  <a:lnTo>
                    <a:pt x="280927" y="1706615"/>
                  </a:lnTo>
                  <a:lnTo>
                    <a:pt x="328551" y="1712183"/>
                  </a:lnTo>
                  <a:lnTo>
                    <a:pt x="376220" y="1717531"/>
                  </a:lnTo>
                  <a:lnTo>
                    <a:pt x="423936" y="1722660"/>
                  </a:lnTo>
                  <a:lnTo>
                    <a:pt x="471697" y="1727571"/>
                  </a:lnTo>
                  <a:lnTo>
                    <a:pt x="519502" y="1732265"/>
                  </a:lnTo>
                  <a:lnTo>
                    <a:pt x="567352" y="1736743"/>
                  </a:lnTo>
                  <a:lnTo>
                    <a:pt x="615246" y="1741008"/>
                  </a:lnTo>
                  <a:lnTo>
                    <a:pt x="663184" y="1745059"/>
                  </a:lnTo>
                  <a:lnTo>
                    <a:pt x="711165" y="1748898"/>
                  </a:lnTo>
                  <a:lnTo>
                    <a:pt x="759188" y="1752526"/>
                  </a:lnTo>
                  <a:lnTo>
                    <a:pt x="807253" y="1755944"/>
                  </a:lnTo>
                  <a:lnTo>
                    <a:pt x="855361" y="1759154"/>
                  </a:lnTo>
                  <a:lnTo>
                    <a:pt x="903509" y="1762157"/>
                  </a:lnTo>
                  <a:lnTo>
                    <a:pt x="951698" y="1764953"/>
                  </a:lnTo>
                  <a:lnTo>
                    <a:pt x="999927" y="1767545"/>
                  </a:lnTo>
                  <a:lnTo>
                    <a:pt x="1048197" y="1769932"/>
                  </a:lnTo>
                  <a:lnTo>
                    <a:pt x="1096505" y="1772117"/>
                  </a:lnTo>
                  <a:lnTo>
                    <a:pt x="1144853" y="1774100"/>
                  </a:lnTo>
                  <a:lnTo>
                    <a:pt x="1193239" y="1775883"/>
                  </a:lnTo>
                  <a:lnTo>
                    <a:pt x="1241663" y="1777467"/>
                  </a:lnTo>
                  <a:lnTo>
                    <a:pt x="1290125" y="1778853"/>
                  </a:lnTo>
                  <a:lnTo>
                    <a:pt x="1338623" y="1780042"/>
                  </a:lnTo>
                  <a:lnTo>
                    <a:pt x="1387159" y="1781035"/>
                  </a:lnTo>
                  <a:lnTo>
                    <a:pt x="1435730" y="1781834"/>
                  </a:lnTo>
                  <a:lnTo>
                    <a:pt x="1484338" y="1782439"/>
                  </a:lnTo>
                  <a:lnTo>
                    <a:pt x="1532980" y="1782852"/>
                  </a:lnTo>
                  <a:lnTo>
                    <a:pt x="1581658" y="1783075"/>
                  </a:lnTo>
                  <a:lnTo>
                    <a:pt x="1630369" y="1783107"/>
                  </a:lnTo>
                  <a:lnTo>
                    <a:pt x="1679115" y="1782951"/>
                  </a:lnTo>
                  <a:lnTo>
                    <a:pt x="1727894" y="1782607"/>
                  </a:lnTo>
                  <a:lnTo>
                    <a:pt x="1776706" y="1782077"/>
                  </a:lnTo>
                  <a:lnTo>
                    <a:pt x="1825551" y="1781362"/>
                  </a:lnTo>
                  <a:lnTo>
                    <a:pt x="1874427" y="1780463"/>
                  </a:lnTo>
                  <a:lnTo>
                    <a:pt x="1923335" y="1779381"/>
                  </a:lnTo>
                  <a:lnTo>
                    <a:pt x="1972275" y="1778118"/>
                  </a:lnTo>
                  <a:lnTo>
                    <a:pt x="2021245" y="1776674"/>
                  </a:lnTo>
                  <a:lnTo>
                    <a:pt x="2070245" y="1775051"/>
                  </a:lnTo>
                  <a:lnTo>
                    <a:pt x="2119275" y="1773249"/>
                  </a:lnTo>
                  <a:lnTo>
                    <a:pt x="2168334" y="1771271"/>
                  </a:lnTo>
                  <a:lnTo>
                    <a:pt x="2217422" y="1769117"/>
                  </a:lnTo>
                  <a:lnTo>
                    <a:pt x="2266539" y="1766788"/>
                  </a:lnTo>
                  <a:lnTo>
                    <a:pt x="2315683" y="1764286"/>
                  </a:lnTo>
                  <a:lnTo>
                    <a:pt x="2364855" y="1761612"/>
                  </a:lnTo>
                  <a:lnTo>
                    <a:pt x="2414054" y="1758766"/>
                  </a:lnTo>
                  <a:lnTo>
                    <a:pt x="2463280" y="1755751"/>
                  </a:lnTo>
                  <a:lnTo>
                    <a:pt x="2512531" y="1752567"/>
                  </a:lnTo>
                  <a:lnTo>
                    <a:pt x="2561809" y="1749215"/>
                  </a:lnTo>
                  <a:lnTo>
                    <a:pt x="2611111" y="1745697"/>
                  </a:lnTo>
                  <a:lnTo>
                    <a:pt x="2660438" y="1742013"/>
                  </a:lnTo>
                  <a:lnTo>
                    <a:pt x="2709790" y="1738166"/>
                  </a:lnTo>
                  <a:lnTo>
                    <a:pt x="2759165" y="1734155"/>
                  </a:lnTo>
                  <a:lnTo>
                    <a:pt x="2808563" y="1729983"/>
                  </a:lnTo>
                  <a:lnTo>
                    <a:pt x="2857985" y="1725650"/>
                  </a:lnTo>
                  <a:lnTo>
                    <a:pt x="2907429" y="1721158"/>
                  </a:lnTo>
                  <a:lnTo>
                    <a:pt x="2956895" y="1716508"/>
                  </a:lnTo>
                  <a:lnTo>
                    <a:pt x="3006382" y="1711700"/>
                  </a:lnTo>
                  <a:lnTo>
                    <a:pt x="3055890" y="1706737"/>
                  </a:lnTo>
                  <a:lnTo>
                    <a:pt x="3105419" y="1701619"/>
                  </a:lnTo>
                  <a:lnTo>
                    <a:pt x="3154968" y="1696347"/>
                  </a:lnTo>
                  <a:lnTo>
                    <a:pt x="3204537" y="1690923"/>
                  </a:lnTo>
                  <a:lnTo>
                    <a:pt x="3254125" y="1685348"/>
                  </a:lnTo>
                  <a:lnTo>
                    <a:pt x="3303732" y="1679622"/>
                  </a:lnTo>
                  <a:lnTo>
                    <a:pt x="3353357" y="1673748"/>
                  </a:lnTo>
                  <a:lnTo>
                    <a:pt x="3403000" y="1667726"/>
                  </a:lnTo>
                  <a:lnTo>
                    <a:pt x="3452660" y="1661558"/>
                  </a:lnTo>
                  <a:lnTo>
                    <a:pt x="3502338" y="1655244"/>
                  </a:lnTo>
                  <a:lnTo>
                    <a:pt x="3552031" y="1648786"/>
                  </a:lnTo>
                  <a:lnTo>
                    <a:pt x="3601741" y="1642185"/>
                  </a:lnTo>
                  <a:lnTo>
                    <a:pt x="3651466" y="1635442"/>
                  </a:lnTo>
                  <a:lnTo>
                    <a:pt x="3701207" y="1628558"/>
                  </a:lnTo>
                  <a:lnTo>
                    <a:pt x="3750962" y="1621535"/>
                  </a:lnTo>
                  <a:lnTo>
                    <a:pt x="3800731" y="1614374"/>
                  </a:lnTo>
                  <a:lnTo>
                    <a:pt x="3850514" y="1607075"/>
                  </a:lnTo>
                  <a:lnTo>
                    <a:pt x="3900310" y="1599641"/>
                  </a:lnTo>
                  <a:lnTo>
                    <a:pt x="3950119" y="1592071"/>
                  </a:lnTo>
                  <a:lnTo>
                    <a:pt x="3999940" y="1584368"/>
                  </a:lnTo>
                  <a:lnTo>
                    <a:pt x="4049774" y="1576532"/>
                  </a:lnTo>
                  <a:lnTo>
                    <a:pt x="4099618" y="1568565"/>
                  </a:lnTo>
                  <a:lnTo>
                    <a:pt x="4149474" y="1560468"/>
                  </a:lnTo>
                  <a:lnTo>
                    <a:pt x="4199340" y="1552242"/>
                  </a:lnTo>
                  <a:lnTo>
                    <a:pt x="4249216" y="1543888"/>
                  </a:lnTo>
                  <a:lnTo>
                    <a:pt x="4299102" y="1535408"/>
                  </a:lnTo>
                  <a:lnTo>
                    <a:pt x="4348997" y="1526802"/>
                  </a:lnTo>
                  <a:lnTo>
                    <a:pt x="4398900" y="1518071"/>
                  </a:lnTo>
                  <a:lnTo>
                    <a:pt x="4448812" y="1509218"/>
                  </a:lnTo>
                  <a:lnTo>
                    <a:pt x="4498731" y="1500242"/>
                  </a:lnTo>
                  <a:lnTo>
                    <a:pt x="4548658" y="1491146"/>
                  </a:lnTo>
                  <a:lnTo>
                    <a:pt x="4598592" y="1481930"/>
                  </a:lnTo>
                  <a:lnTo>
                    <a:pt x="4648532" y="1472595"/>
                  </a:lnTo>
                  <a:lnTo>
                    <a:pt x="4698478" y="1463144"/>
                  </a:lnTo>
                  <a:lnTo>
                    <a:pt x="4748429" y="1453576"/>
                  </a:lnTo>
                  <a:lnTo>
                    <a:pt x="4798386" y="1443893"/>
                  </a:lnTo>
                  <a:lnTo>
                    <a:pt x="4848347" y="1434097"/>
                  </a:lnTo>
                  <a:lnTo>
                    <a:pt x="4898312" y="1424187"/>
                  </a:lnTo>
                  <a:lnTo>
                    <a:pt x="4948280" y="1414167"/>
                  </a:lnTo>
                  <a:lnTo>
                    <a:pt x="4998252" y="1404036"/>
                  </a:lnTo>
                  <a:lnTo>
                    <a:pt x="5048227" y="1393796"/>
                  </a:lnTo>
                  <a:lnTo>
                    <a:pt x="5098204" y="1383448"/>
                  </a:lnTo>
                  <a:lnTo>
                    <a:pt x="5148182" y="1372993"/>
                  </a:lnTo>
                  <a:lnTo>
                    <a:pt x="5198162" y="1362433"/>
                  </a:lnTo>
                  <a:lnTo>
                    <a:pt x="5248143" y="1351768"/>
                  </a:lnTo>
                  <a:lnTo>
                    <a:pt x="5298124" y="1341000"/>
                  </a:lnTo>
                  <a:lnTo>
                    <a:pt x="5348106" y="1330130"/>
                  </a:lnTo>
                  <a:lnTo>
                    <a:pt x="5398086" y="1319159"/>
                  </a:lnTo>
                  <a:lnTo>
                    <a:pt x="5448066" y="1308089"/>
                  </a:lnTo>
                  <a:lnTo>
                    <a:pt x="5498044" y="1296919"/>
                  </a:lnTo>
                  <a:lnTo>
                    <a:pt x="5548021" y="1285652"/>
                  </a:lnTo>
                  <a:lnTo>
                    <a:pt x="5597995" y="1274290"/>
                  </a:lnTo>
                  <a:lnTo>
                    <a:pt x="5647966" y="1262832"/>
                  </a:lnTo>
                  <a:lnTo>
                    <a:pt x="5697935" y="1251280"/>
                  </a:lnTo>
                  <a:lnTo>
                    <a:pt x="5747899" y="1239635"/>
                  </a:lnTo>
                  <a:lnTo>
                    <a:pt x="5797859" y="1227899"/>
                  </a:lnTo>
                  <a:lnTo>
                    <a:pt x="5847815" y="1216072"/>
                  </a:lnTo>
                  <a:lnTo>
                    <a:pt x="5897765" y="1204156"/>
                  </a:lnTo>
                  <a:lnTo>
                    <a:pt x="5947711" y="1192152"/>
                  </a:lnTo>
                  <a:lnTo>
                    <a:pt x="5997650" y="1180062"/>
                  </a:lnTo>
                  <a:lnTo>
                    <a:pt x="6047582" y="1167885"/>
                  </a:lnTo>
                  <a:lnTo>
                    <a:pt x="6097508" y="1155624"/>
                  </a:lnTo>
                  <a:lnTo>
                    <a:pt x="6147426" y="1143280"/>
                  </a:lnTo>
                  <a:lnTo>
                    <a:pt x="6197336" y="1130853"/>
                  </a:lnTo>
                  <a:lnTo>
                    <a:pt x="6247239" y="1118346"/>
                  </a:lnTo>
                  <a:lnTo>
                    <a:pt x="6297132" y="1105758"/>
                  </a:lnTo>
                  <a:lnTo>
                    <a:pt x="6347016" y="1093092"/>
                  </a:lnTo>
                  <a:lnTo>
                    <a:pt x="6396891" y="1080348"/>
                  </a:lnTo>
                  <a:lnTo>
                    <a:pt x="6446755" y="1067528"/>
                  </a:lnTo>
                  <a:lnTo>
                    <a:pt x="6496609" y="1054633"/>
                  </a:lnTo>
                  <a:lnTo>
                    <a:pt x="6546452" y="1041664"/>
                  </a:lnTo>
                  <a:lnTo>
                    <a:pt x="6596283" y="1028622"/>
                  </a:lnTo>
                  <a:lnTo>
                    <a:pt x="6646102" y="1015508"/>
                  </a:lnTo>
                  <a:lnTo>
                    <a:pt x="6695909" y="1002324"/>
                  </a:lnTo>
                  <a:lnTo>
                    <a:pt x="6745703" y="989070"/>
                  </a:lnTo>
                  <a:lnTo>
                    <a:pt x="6795484" y="975748"/>
                  </a:lnTo>
                  <a:lnTo>
                    <a:pt x="6845251" y="962360"/>
                  </a:lnTo>
                  <a:lnTo>
                    <a:pt x="6895004" y="948905"/>
                  </a:lnTo>
                  <a:lnTo>
                    <a:pt x="6944742" y="935386"/>
                  </a:lnTo>
                  <a:lnTo>
                    <a:pt x="6994464" y="921803"/>
                  </a:lnTo>
                  <a:lnTo>
                    <a:pt x="7044171" y="908158"/>
                  </a:lnTo>
                  <a:lnTo>
                    <a:pt x="7093863" y="894452"/>
                  </a:lnTo>
                  <a:lnTo>
                    <a:pt x="7143537" y="880686"/>
                  </a:lnTo>
                  <a:lnTo>
                    <a:pt x="7193195" y="866861"/>
                  </a:lnTo>
                  <a:lnTo>
                    <a:pt x="7242835" y="852978"/>
                  </a:lnTo>
                  <a:lnTo>
                    <a:pt x="7292457" y="839039"/>
                  </a:lnTo>
                  <a:lnTo>
                    <a:pt x="7342061" y="825045"/>
                  </a:lnTo>
                  <a:lnTo>
                    <a:pt x="7391646" y="810996"/>
                  </a:lnTo>
                  <a:lnTo>
                    <a:pt x="7441211" y="796895"/>
                  </a:lnTo>
                  <a:lnTo>
                    <a:pt x="7490757" y="782742"/>
                  </a:lnTo>
                  <a:lnTo>
                    <a:pt x="7540283" y="768538"/>
                  </a:lnTo>
                  <a:lnTo>
                    <a:pt x="7589788" y="754284"/>
                  </a:lnTo>
                  <a:lnTo>
                    <a:pt x="7639272" y="739983"/>
                  </a:lnTo>
                  <a:lnTo>
                    <a:pt x="7688734" y="725634"/>
                  </a:lnTo>
                  <a:lnTo>
                    <a:pt x="7738174" y="711239"/>
                  </a:lnTo>
                  <a:lnTo>
                    <a:pt x="7787592" y="696800"/>
                  </a:lnTo>
                  <a:lnTo>
                    <a:pt x="7836987" y="682317"/>
                  </a:lnTo>
                  <a:lnTo>
                    <a:pt x="7886358" y="667792"/>
                  </a:lnTo>
                  <a:lnTo>
                    <a:pt x="7935706" y="653225"/>
                  </a:lnTo>
                  <a:lnTo>
                    <a:pt x="7985029" y="638618"/>
                  </a:lnTo>
                  <a:lnTo>
                    <a:pt x="8034327" y="623972"/>
                  </a:lnTo>
                  <a:lnTo>
                    <a:pt x="8083600" y="609289"/>
                  </a:lnTo>
                  <a:lnTo>
                    <a:pt x="8132848" y="594569"/>
                  </a:lnTo>
                  <a:lnTo>
                    <a:pt x="8182069" y="579813"/>
                  </a:lnTo>
                  <a:lnTo>
                    <a:pt x="8231263" y="565024"/>
                  </a:lnTo>
                  <a:lnTo>
                    <a:pt x="8280431" y="550201"/>
                  </a:lnTo>
                  <a:lnTo>
                    <a:pt x="8329571" y="535346"/>
                  </a:lnTo>
                  <a:lnTo>
                    <a:pt x="8378683" y="520461"/>
                  </a:lnTo>
                  <a:lnTo>
                    <a:pt x="8427766" y="505546"/>
                  </a:lnTo>
                  <a:lnTo>
                    <a:pt x="8476821" y="490603"/>
                  </a:lnTo>
                  <a:lnTo>
                    <a:pt x="8525846" y="475632"/>
                  </a:lnTo>
                  <a:lnTo>
                    <a:pt x="8574841" y="460635"/>
                  </a:lnTo>
                  <a:lnTo>
                    <a:pt x="8623806" y="445614"/>
                  </a:lnTo>
                  <a:lnTo>
                    <a:pt x="8672741" y="430569"/>
                  </a:lnTo>
                  <a:lnTo>
                    <a:pt x="8731141" y="412776"/>
                  </a:lnTo>
                  <a:lnTo>
                    <a:pt x="8789473" y="395387"/>
                  </a:lnTo>
                  <a:lnTo>
                    <a:pt x="8847732" y="378399"/>
                  </a:lnTo>
                  <a:lnTo>
                    <a:pt x="8905911" y="361811"/>
                  </a:lnTo>
                  <a:lnTo>
                    <a:pt x="8964005" y="345621"/>
                  </a:lnTo>
                  <a:lnTo>
                    <a:pt x="9022009" y="329826"/>
                  </a:lnTo>
                  <a:lnTo>
                    <a:pt x="9079917" y="314426"/>
                  </a:lnTo>
                  <a:lnTo>
                    <a:pt x="9137723" y="299418"/>
                  </a:lnTo>
                  <a:lnTo>
                    <a:pt x="9195422" y="284801"/>
                  </a:lnTo>
                  <a:lnTo>
                    <a:pt x="9253009" y="270573"/>
                  </a:lnTo>
                  <a:lnTo>
                    <a:pt x="9310478" y="256732"/>
                  </a:lnTo>
                  <a:lnTo>
                    <a:pt x="9367823" y="243276"/>
                  </a:lnTo>
                  <a:lnTo>
                    <a:pt x="9425039" y="230204"/>
                  </a:lnTo>
                  <a:lnTo>
                    <a:pt x="9482120" y="217514"/>
                  </a:lnTo>
                  <a:lnTo>
                    <a:pt x="9539061" y="205204"/>
                  </a:lnTo>
                  <a:lnTo>
                    <a:pt x="9595857" y="193272"/>
                  </a:lnTo>
                  <a:lnTo>
                    <a:pt x="9652501" y="181716"/>
                  </a:lnTo>
                  <a:lnTo>
                    <a:pt x="9708989" y="170535"/>
                  </a:lnTo>
                  <a:lnTo>
                    <a:pt x="9765314" y="159728"/>
                  </a:lnTo>
                  <a:lnTo>
                    <a:pt x="9821471" y="149291"/>
                  </a:lnTo>
                  <a:lnTo>
                    <a:pt x="9877455" y="139224"/>
                  </a:lnTo>
                  <a:lnTo>
                    <a:pt x="9933260" y="129524"/>
                  </a:lnTo>
                  <a:lnTo>
                    <a:pt x="9988881" y="120191"/>
                  </a:lnTo>
                  <a:lnTo>
                    <a:pt x="10044312" y="111221"/>
                  </a:lnTo>
                  <a:lnTo>
                    <a:pt x="10099547" y="102614"/>
                  </a:lnTo>
                  <a:lnTo>
                    <a:pt x="10154581" y="94367"/>
                  </a:lnTo>
                  <a:lnTo>
                    <a:pt x="10209409" y="86479"/>
                  </a:lnTo>
                  <a:lnTo>
                    <a:pt x="10264024" y="78948"/>
                  </a:lnTo>
                  <a:lnTo>
                    <a:pt x="10318422" y="71772"/>
                  </a:lnTo>
                  <a:lnTo>
                    <a:pt x="10372597" y="64950"/>
                  </a:lnTo>
                  <a:lnTo>
                    <a:pt x="10426544" y="58479"/>
                  </a:lnTo>
                  <a:lnTo>
                    <a:pt x="10480256" y="52359"/>
                  </a:lnTo>
                  <a:lnTo>
                    <a:pt x="10533728" y="46586"/>
                  </a:lnTo>
                  <a:lnTo>
                    <a:pt x="10586955" y="41160"/>
                  </a:lnTo>
                  <a:lnTo>
                    <a:pt x="10639932" y="36078"/>
                  </a:lnTo>
                  <a:lnTo>
                    <a:pt x="10692652" y="31340"/>
                  </a:lnTo>
                  <a:lnTo>
                    <a:pt x="10745110" y="26942"/>
                  </a:lnTo>
                  <a:lnTo>
                    <a:pt x="10797301" y="22883"/>
                  </a:lnTo>
                  <a:lnTo>
                    <a:pt x="10849219" y="19162"/>
                  </a:lnTo>
                  <a:lnTo>
                    <a:pt x="10900859" y="15777"/>
                  </a:lnTo>
                  <a:lnTo>
                    <a:pt x="10952214" y="12726"/>
                  </a:lnTo>
                  <a:lnTo>
                    <a:pt x="11003281" y="10007"/>
                  </a:lnTo>
                  <a:lnTo>
                    <a:pt x="11054052" y="7618"/>
                  </a:lnTo>
                  <a:lnTo>
                    <a:pt x="11104522" y="5558"/>
                  </a:lnTo>
                  <a:lnTo>
                    <a:pt x="11154687" y="3825"/>
                  </a:lnTo>
                  <a:lnTo>
                    <a:pt x="11204540" y="2417"/>
                  </a:lnTo>
                  <a:lnTo>
                    <a:pt x="11254076" y="1332"/>
                  </a:lnTo>
                  <a:lnTo>
                    <a:pt x="11303289" y="569"/>
                  </a:lnTo>
                  <a:lnTo>
                    <a:pt x="11352174" y="125"/>
                  </a:lnTo>
                  <a:lnTo>
                    <a:pt x="11400726" y="0"/>
                  </a:lnTo>
                  <a:lnTo>
                    <a:pt x="11448938" y="190"/>
                  </a:lnTo>
                  <a:lnTo>
                    <a:pt x="11496805" y="695"/>
                  </a:lnTo>
                  <a:lnTo>
                    <a:pt x="11544322" y="1513"/>
                  </a:lnTo>
                  <a:lnTo>
                    <a:pt x="11591483" y="2642"/>
                  </a:lnTo>
                  <a:lnTo>
                    <a:pt x="11638283" y="4080"/>
                  </a:lnTo>
                  <a:lnTo>
                    <a:pt x="11684716" y="5825"/>
                  </a:lnTo>
                  <a:lnTo>
                    <a:pt x="11730777" y="7876"/>
                  </a:lnTo>
                  <a:lnTo>
                    <a:pt x="11776460" y="10231"/>
                  </a:lnTo>
                  <a:lnTo>
                    <a:pt x="11821759" y="12887"/>
                  </a:lnTo>
                  <a:lnTo>
                    <a:pt x="11866669" y="15844"/>
                  </a:lnTo>
                  <a:lnTo>
                    <a:pt x="11911185" y="19100"/>
                  </a:lnTo>
                  <a:lnTo>
                    <a:pt x="11955300" y="22652"/>
                  </a:lnTo>
                  <a:lnTo>
                    <a:pt x="11999010" y="26499"/>
                  </a:lnTo>
                  <a:lnTo>
                    <a:pt x="12042309" y="30639"/>
                  </a:lnTo>
                  <a:lnTo>
                    <a:pt x="12085191" y="35071"/>
                  </a:lnTo>
                  <a:lnTo>
                    <a:pt x="12127651" y="39792"/>
                  </a:lnTo>
                  <a:lnTo>
                    <a:pt x="12169684" y="44801"/>
                  </a:lnTo>
                  <a:lnTo>
                    <a:pt x="12192000" y="47642"/>
                  </a:lnTo>
                </a:path>
              </a:pathLst>
            </a:custGeom>
            <a:ln w="25400">
              <a:solidFill>
                <a:srgbClr val="DA1E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BIZ UDPゴシック"/>
                <a:cs typeface="+mn-cs"/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C8232F46-8905-47D7-9779-D61B70F578CD}"/>
                </a:ext>
              </a:extLst>
            </p:cNvPr>
            <p:cNvSpPr/>
            <p:nvPr userDrawn="1"/>
          </p:nvSpPr>
          <p:spPr>
            <a:xfrm>
              <a:off x="0" y="5047558"/>
              <a:ext cx="12192000" cy="1029969"/>
            </a:xfrm>
            <a:custGeom>
              <a:avLst/>
              <a:gdLst/>
              <a:ahLst/>
              <a:cxnLst/>
              <a:rect l="l" t="t" r="r" b="b"/>
              <a:pathLst>
                <a:path w="12192000" h="1029970">
                  <a:moveTo>
                    <a:pt x="12192000" y="68478"/>
                  </a:moveTo>
                  <a:lnTo>
                    <a:pt x="12140152" y="60680"/>
                  </a:lnTo>
                  <a:lnTo>
                    <a:pt x="12100389" y="55127"/>
                  </a:lnTo>
                  <a:lnTo>
                    <a:pt x="12060079" y="49836"/>
                  </a:lnTo>
                  <a:lnTo>
                    <a:pt x="12019228" y="44806"/>
                  </a:lnTo>
                  <a:lnTo>
                    <a:pt x="11977843" y="40039"/>
                  </a:lnTo>
                  <a:lnTo>
                    <a:pt x="11935931" y="35535"/>
                  </a:lnTo>
                  <a:lnTo>
                    <a:pt x="11893498" y="31296"/>
                  </a:lnTo>
                  <a:lnTo>
                    <a:pt x="11850553" y="27322"/>
                  </a:lnTo>
                  <a:lnTo>
                    <a:pt x="11807101" y="23614"/>
                  </a:lnTo>
                  <a:lnTo>
                    <a:pt x="11763149" y="20173"/>
                  </a:lnTo>
                  <a:lnTo>
                    <a:pt x="11718704" y="16999"/>
                  </a:lnTo>
                  <a:lnTo>
                    <a:pt x="11673773" y="14094"/>
                  </a:lnTo>
                  <a:lnTo>
                    <a:pt x="11628363" y="11458"/>
                  </a:lnTo>
                  <a:lnTo>
                    <a:pt x="11582481" y="9093"/>
                  </a:lnTo>
                  <a:lnTo>
                    <a:pt x="11536134" y="6999"/>
                  </a:lnTo>
                  <a:lnTo>
                    <a:pt x="11489327" y="5176"/>
                  </a:lnTo>
                  <a:lnTo>
                    <a:pt x="11442069" y="3627"/>
                  </a:lnTo>
                  <a:lnTo>
                    <a:pt x="11394366" y="2351"/>
                  </a:lnTo>
                  <a:lnTo>
                    <a:pt x="11346225" y="1349"/>
                  </a:lnTo>
                  <a:lnTo>
                    <a:pt x="11297653" y="623"/>
                  </a:lnTo>
                  <a:lnTo>
                    <a:pt x="11248656" y="173"/>
                  </a:lnTo>
                  <a:lnTo>
                    <a:pt x="11199242" y="0"/>
                  </a:lnTo>
                  <a:lnTo>
                    <a:pt x="11149417" y="104"/>
                  </a:lnTo>
                  <a:lnTo>
                    <a:pt x="11099188" y="488"/>
                  </a:lnTo>
                  <a:lnTo>
                    <a:pt x="11048563" y="1150"/>
                  </a:lnTo>
                  <a:lnTo>
                    <a:pt x="10997547" y="2094"/>
                  </a:lnTo>
                  <a:lnTo>
                    <a:pt x="10946148" y="3318"/>
                  </a:lnTo>
                  <a:lnTo>
                    <a:pt x="10894372" y="4825"/>
                  </a:lnTo>
                  <a:lnTo>
                    <a:pt x="10842227" y="6614"/>
                  </a:lnTo>
                  <a:lnTo>
                    <a:pt x="10789719" y="8687"/>
                  </a:lnTo>
                  <a:lnTo>
                    <a:pt x="10736855" y="11045"/>
                  </a:lnTo>
                  <a:lnTo>
                    <a:pt x="10683641" y="13688"/>
                  </a:lnTo>
                  <a:lnTo>
                    <a:pt x="10630086" y="16617"/>
                  </a:lnTo>
                  <a:lnTo>
                    <a:pt x="10576195" y="19834"/>
                  </a:lnTo>
                  <a:lnTo>
                    <a:pt x="10521976" y="23338"/>
                  </a:lnTo>
                  <a:lnTo>
                    <a:pt x="10467435" y="27131"/>
                  </a:lnTo>
                  <a:lnTo>
                    <a:pt x="10412579" y="31214"/>
                  </a:lnTo>
                  <a:lnTo>
                    <a:pt x="10357416" y="35588"/>
                  </a:lnTo>
                  <a:lnTo>
                    <a:pt x="10301951" y="40253"/>
                  </a:lnTo>
                  <a:lnTo>
                    <a:pt x="10246191" y="45209"/>
                  </a:lnTo>
                  <a:lnTo>
                    <a:pt x="10190145" y="50459"/>
                  </a:lnTo>
                  <a:lnTo>
                    <a:pt x="10133817" y="56003"/>
                  </a:lnTo>
                  <a:lnTo>
                    <a:pt x="10077216" y="61842"/>
                  </a:lnTo>
                  <a:lnTo>
                    <a:pt x="10020348" y="67976"/>
                  </a:lnTo>
                  <a:lnTo>
                    <a:pt x="9963220" y="74406"/>
                  </a:lnTo>
                  <a:lnTo>
                    <a:pt x="9905838" y="81134"/>
                  </a:lnTo>
                  <a:lnTo>
                    <a:pt x="9848211" y="88160"/>
                  </a:lnTo>
                  <a:lnTo>
                    <a:pt x="9790343" y="95485"/>
                  </a:lnTo>
                  <a:lnTo>
                    <a:pt x="9732243" y="103109"/>
                  </a:lnTo>
                  <a:lnTo>
                    <a:pt x="9673917" y="111034"/>
                  </a:lnTo>
                  <a:lnTo>
                    <a:pt x="9615372" y="119261"/>
                  </a:lnTo>
                  <a:lnTo>
                    <a:pt x="9556615" y="127790"/>
                  </a:lnTo>
                  <a:lnTo>
                    <a:pt x="9497653" y="136622"/>
                  </a:lnTo>
                  <a:lnTo>
                    <a:pt x="9438492" y="145758"/>
                  </a:lnTo>
                  <a:lnTo>
                    <a:pt x="9379139" y="155199"/>
                  </a:lnTo>
                  <a:lnTo>
                    <a:pt x="9319602" y="164946"/>
                  </a:lnTo>
                  <a:lnTo>
                    <a:pt x="9259887" y="174999"/>
                  </a:lnTo>
                  <a:lnTo>
                    <a:pt x="9200000" y="185359"/>
                  </a:lnTo>
                  <a:lnTo>
                    <a:pt x="9139950" y="196028"/>
                  </a:lnTo>
                  <a:lnTo>
                    <a:pt x="9079742" y="207006"/>
                  </a:lnTo>
                  <a:lnTo>
                    <a:pt x="9019383" y="218294"/>
                  </a:lnTo>
                  <a:lnTo>
                    <a:pt x="8958881" y="229892"/>
                  </a:lnTo>
                  <a:lnTo>
                    <a:pt x="8898242" y="241802"/>
                  </a:lnTo>
                  <a:lnTo>
                    <a:pt x="8837473" y="254025"/>
                  </a:lnTo>
                  <a:lnTo>
                    <a:pt x="8776581" y="266561"/>
                  </a:lnTo>
                  <a:lnTo>
                    <a:pt x="8730075" y="276234"/>
                  </a:lnTo>
                  <a:lnTo>
                    <a:pt x="8683456" y="285898"/>
                  </a:lnTo>
                  <a:lnTo>
                    <a:pt x="8636725" y="295551"/>
                  </a:lnTo>
                  <a:lnTo>
                    <a:pt x="8589883" y="305193"/>
                  </a:lnTo>
                  <a:lnTo>
                    <a:pt x="8542932" y="314822"/>
                  </a:lnTo>
                  <a:lnTo>
                    <a:pt x="8495874" y="324437"/>
                  </a:lnTo>
                  <a:lnTo>
                    <a:pt x="8448708" y="334036"/>
                  </a:lnTo>
                  <a:lnTo>
                    <a:pt x="8401438" y="343619"/>
                  </a:lnTo>
                  <a:lnTo>
                    <a:pt x="8354063" y="353184"/>
                  </a:lnTo>
                  <a:lnTo>
                    <a:pt x="8306585" y="362731"/>
                  </a:lnTo>
                  <a:lnTo>
                    <a:pt x="8259006" y="372257"/>
                  </a:lnTo>
                  <a:lnTo>
                    <a:pt x="8211326" y="381763"/>
                  </a:lnTo>
                  <a:lnTo>
                    <a:pt x="8163548" y="391246"/>
                  </a:lnTo>
                  <a:lnTo>
                    <a:pt x="8115671" y="400706"/>
                  </a:lnTo>
                  <a:lnTo>
                    <a:pt x="8067699" y="410141"/>
                  </a:lnTo>
                  <a:lnTo>
                    <a:pt x="8019631" y="419550"/>
                  </a:lnTo>
                  <a:lnTo>
                    <a:pt x="7971470" y="428932"/>
                  </a:lnTo>
                  <a:lnTo>
                    <a:pt x="7923216" y="438285"/>
                  </a:lnTo>
                  <a:lnTo>
                    <a:pt x="7874870" y="447610"/>
                  </a:lnTo>
                  <a:lnTo>
                    <a:pt x="7826435" y="456904"/>
                  </a:lnTo>
                  <a:lnTo>
                    <a:pt x="7777911" y="466166"/>
                  </a:lnTo>
                  <a:lnTo>
                    <a:pt x="7729300" y="475395"/>
                  </a:lnTo>
                  <a:lnTo>
                    <a:pt x="7680602" y="484590"/>
                  </a:lnTo>
                  <a:lnTo>
                    <a:pt x="7631820" y="493750"/>
                  </a:lnTo>
                  <a:lnTo>
                    <a:pt x="7582954" y="502873"/>
                  </a:lnTo>
                  <a:lnTo>
                    <a:pt x="7534006" y="511958"/>
                  </a:lnTo>
                  <a:lnTo>
                    <a:pt x="7484977" y="521005"/>
                  </a:lnTo>
                  <a:lnTo>
                    <a:pt x="7435868" y="530012"/>
                  </a:lnTo>
                  <a:lnTo>
                    <a:pt x="7386681" y="538978"/>
                  </a:lnTo>
                  <a:lnTo>
                    <a:pt x="7337417" y="547901"/>
                  </a:lnTo>
                  <a:lnTo>
                    <a:pt x="7288077" y="556781"/>
                  </a:lnTo>
                  <a:lnTo>
                    <a:pt x="7238662" y="565616"/>
                  </a:lnTo>
                  <a:lnTo>
                    <a:pt x="7189175" y="574405"/>
                  </a:lnTo>
                  <a:lnTo>
                    <a:pt x="7139615" y="583147"/>
                  </a:lnTo>
                  <a:lnTo>
                    <a:pt x="7089984" y="591840"/>
                  </a:lnTo>
                  <a:lnTo>
                    <a:pt x="7040285" y="600485"/>
                  </a:lnTo>
                  <a:lnTo>
                    <a:pt x="6990517" y="609078"/>
                  </a:lnTo>
                  <a:lnTo>
                    <a:pt x="6940682" y="617620"/>
                  </a:lnTo>
                  <a:lnTo>
                    <a:pt x="6890782" y="626109"/>
                  </a:lnTo>
                  <a:lnTo>
                    <a:pt x="6840817" y="634544"/>
                  </a:lnTo>
                  <a:lnTo>
                    <a:pt x="6790790" y="642924"/>
                  </a:lnTo>
                  <a:lnTo>
                    <a:pt x="6740701" y="651247"/>
                  </a:lnTo>
                  <a:lnTo>
                    <a:pt x="6690551" y="659512"/>
                  </a:lnTo>
                  <a:lnTo>
                    <a:pt x="6640343" y="667719"/>
                  </a:lnTo>
                  <a:lnTo>
                    <a:pt x="6590076" y="675865"/>
                  </a:lnTo>
                  <a:lnTo>
                    <a:pt x="6539753" y="683950"/>
                  </a:lnTo>
                  <a:lnTo>
                    <a:pt x="6489375" y="691973"/>
                  </a:lnTo>
                  <a:lnTo>
                    <a:pt x="6438943" y="699932"/>
                  </a:lnTo>
                  <a:lnTo>
                    <a:pt x="6388458" y="707827"/>
                  </a:lnTo>
                  <a:lnTo>
                    <a:pt x="6337922" y="715655"/>
                  </a:lnTo>
                  <a:lnTo>
                    <a:pt x="6287336" y="723417"/>
                  </a:lnTo>
                  <a:lnTo>
                    <a:pt x="6236701" y="731110"/>
                  </a:lnTo>
                  <a:lnTo>
                    <a:pt x="6186019" y="738734"/>
                  </a:lnTo>
                  <a:lnTo>
                    <a:pt x="6135290" y="746287"/>
                  </a:lnTo>
                  <a:lnTo>
                    <a:pt x="6084516" y="753768"/>
                  </a:lnTo>
                  <a:lnTo>
                    <a:pt x="6033699" y="761177"/>
                  </a:lnTo>
                  <a:lnTo>
                    <a:pt x="5982839" y="768511"/>
                  </a:lnTo>
                  <a:lnTo>
                    <a:pt x="5931938" y="775769"/>
                  </a:lnTo>
                  <a:lnTo>
                    <a:pt x="5880998" y="782952"/>
                  </a:lnTo>
                  <a:lnTo>
                    <a:pt x="5830019" y="790056"/>
                  </a:lnTo>
                  <a:lnTo>
                    <a:pt x="5779002" y="797082"/>
                  </a:lnTo>
                  <a:lnTo>
                    <a:pt x="5727950" y="804027"/>
                  </a:lnTo>
                  <a:lnTo>
                    <a:pt x="5676863" y="810892"/>
                  </a:lnTo>
                  <a:lnTo>
                    <a:pt x="5625743" y="817674"/>
                  </a:lnTo>
                  <a:lnTo>
                    <a:pt x="5574591" y="824372"/>
                  </a:lnTo>
                  <a:lnTo>
                    <a:pt x="5523407" y="830986"/>
                  </a:lnTo>
                  <a:lnTo>
                    <a:pt x="5472195" y="837513"/>
                  </a:lnTo>
                  <a:lnTo>
                    <a:pt x="5420954" y="843954"/>
                  </a:lnTo>
                  <a:lnTo>
                    <a:pt x="5369686" y="850306"/>
                  </a:lnTo>
                  <a:lnTo>
                    <a:pt x="5318393" y="856568"/>
                  </a:lnTo>
                  <a:lnTo>
                    <a:pt x="5267075" y="862740"/>
                  </a:lnTo>
                  <a:lnTo>
                    <a:pt x="5215734" y="868820"/>
                  </a:lnTo>
                  <a:lnTo>
                    <a:pt x="5164371" y="874807"/>
                  </a:lnTo>
                  <a:lnTo>
                    <a:pt x="5112988" y="880700"/>
                  </a:lnTo>
                  <a:lnTo>
                    <a:pt x="5061586" y="886498"/>
                  </a:lnTo>
                  <a:lnTo>
                    <a:pt x="5010165" y="892199"/>
                  </a:lnTo>
                  <a:lnTo>
                    <a:pt x="4958728" y="897802"/>
                  </a:lnTo>
                  <a:lnTo>
                    <a:pt x="4907276" y="903306"/>
                  </a:lnTo>
                  <a:lnTo>
                    <a:pt x="4855810" y="908710"/>
                  </a:lnTo>
                  <a:lnTo>
                    <a:pt x="4804331" y="914013"/>
                  </a:lnTo>
                  <a:lnTo>
                    <a:pt x="4752840" y="919214"/>
                  </a:lnTo>
                  <a:lnTo>
                    <a:pt x="4701339" y="924311"/>
                  </a:lnTo>
                  <a:lnTo>
                    <a:pt x="4649829" y="929303"/>
                  </a:lnTo>
                  <a:lnTo>
                    <a:pt x="4598312" y="934189"/>
                  </a:lnTo>
                  <a:lnTo>
                    <a:pt x="4546788" y="938968"/>
                  </a:lnTo>
                  <a:lnTo>
                    <a:pt x="4495259" y="943638"/>
                  </a:lnTo>
                  <a:lnTo>
                    <a:pt x="4443726" y="948199"/>
                  </a:lnTo>
                  <a:lnTo>
                    <a:pt x="4392191" y="952649"/>
                  </a:lnTo>
                  <a:lnTo>
                    <a:pt x="4340655" y="956988"/>
                  </a:lnTo>
                  <a:lnTo>
                    <a:pt x="4289119" y="961213"/>
                  </a:lnTo>
                  <a:lnTo>
                    <a:pt x="4237584" y="965324"/>
                  </a:lnTo>
                  <a:lnTo>
                    <a:pt x="4186052" y="969320"/>
                  </a:lnTo>
                  <a:lnTo>
                    <a:pt x="4134523" y="973199"/>
                  </a:lnTo>
                  <a:lnTo>
                    <a:pt x="4083000" y="976961"/>
                  </a:lnTo>
                  <a:lnTo>
                    <a:pt x="4031484" y="980603"/>
                  </a:lnTo>
                  <a:lnTo>
                    <a:pt x="3979975" y="984125"/>
                  </a:lnTo>
                  <a:lnTo>
                    <a:pt x="3928475" y="987526"/>
                  </a:lnTo>
                  <a:lnTo>
                    <a:pt x="3876986" y="990805"/>
                  </a:lnTo>
                  <a:lnTo>
                    <a:pt x="3825508" y="993960"/>
                  </a:lnTo>
                  <a:lnTo>
                    <a:pt x="3774044" y="996990"/>
                  </a:lnTo>
                  <a:lnTo>
                    <a:pt x="3722593" y="999894"/>
                  </a:lnTo>
                  <a:lnTo>
                    <a:pt x="3671158" y="1002670"/>
                  </a:lnTo>
                  <a:lnTo>
                    <a:pt x="3619740" y="1005319"/>
                  </a:lnTo>
                  <a:lnTo>
                    <a:pt x="3568340" y="1007838"/>
                  </a:lnTo>
                  <a:lnTo>
                    <a:pt x="3516960" y="1010226"/>
                  </a:lnTo>
                  <a:lnTo>
                    <a:pt x="3465600" y="1012482"/>
                  </a:lnTo>
                  <a:lnTo>
                    <a:pt x="3414262" y="1014605"/>
                  </a:lnTo>
                  <a:lnTo>
                    <a:pt x="3362947" y="1016594"/>
                  </a:lnTo>
                  <a:lnTo>
                    <a:pt x="3311656" y="1018447"/>
                  </a:lnTo>
                  <a:lnTo>
                    <a:pt x="3260392" y="1020164"/>
                  </a:lnTo>
                  <a:lnTo>
                    <a:pt x="3209155" y="1021743"/>
                  </a:lnTo>
                  <a:lnTo>
                    <a:pt x="3157946" y="1023183"/>
                  </a:lnTo>
                  <a:lnTo>
                    <a:pt x="3106766" y="1024483"/>
                  </a:lnTo>
                  <a:lnTo>
                    <a:pt x="3055618" y="1025642"/>
                  </a:lnTo>
                  <a:lnTo>
                    <a:pt x="3004502" y="1026658"/>
                  </a:lnTo>
                  <a:lnTo>
                    <a:pt x="2953419" y="1027530"/>
                  </a:lnTo>
                  <a:lnTo>
                    <a:pt x="2902371" y="1028257"/>
                  </a:lnTo>
                  <a:lnTo>
                    <a:pt x="2851360" y="1028839"/>
                  </a:lnTo>
                  <a:lnTo>
                    <a:pt x="2800385" y="1029273"/>
                  </a:lnTo>
                  <a:lnTo>
                    <a:pt x="2749450" y="1029559"/>
                  </a:lnTo>
                  <a:lnTo>
                    <a:pt x="2698554" y="1029695"/>
                  </a:lnTo>
                  <a:lnTo>
                    <a:pt x="2647700" y="1029680"/>
                  </a:lnTo>
                  <a:lnTo>
                    <a:pt x="2596888" y="1029514"/>
                  </a:lnTo>
                  <a:lnTo>
                    <a:pt x="2546120" y="1029194"/>
                  </a:lnTo>
                  <a:lnTo>
                    <a:pt x="2495397" y="1028720"/>
                  </a:lnTo>
                  <a:lnTo>
                    <a:pt x="2444720" y="1028091"/>
                  </a:lnTo>
                  <a:lnTo>
                    <a:pt x="2394091" y="1027305"/>
                  </a:lnTo>
                  <a:lnTo>
                    <a:pt x="2343511" y="1026361"/>
                  </a:lnTo>
                  <a:lnTo>
                    <a:pt x="2292981" y="1025258"/>
                  </a:lnTo>
                  <a:lnTo>
                    <a:pt x="2242503" y="1023995"/>
                  </a:lnTo>
                  <a:lnTo>
                    <a:pt x="2192078" y="1022570"/>
                  </a:lnTo>
                  <a:lnTo>
                    <a:pt x="2141707" y="1020983"/>
                  </a:lnTo>
                  <a:lnTo>
                    <a:pt x="2091391" y="1019233"/>
                  </a:lnTo>
                  <a:lnTo>
                    <a:pt x="2041132" y="1017317"/>
                  </a:lnTo>
                  <a:lnTo>
                    <a:pt x="1990931" y="1015235"/>
                  </a:lnTo>
                  <a:lnTo>
                    <a:pt x="1940789" y="1012986"/>
                  </a:lnTo>
                  <a:lnTo>
                    <a:pt x="1890707" y="1010569"/>
                  </a:lnTo>
                  <a:lnTo>
                    <a:pt x="1840688" y="1007982"/>
                  </a:lnTo>
                  <a:lnTo>
                    <a:pt x="1790731" y="1005224"/>
                  </a:lnTo>
                  <a:lnTo>
                    <a:pt x="1740839" y="1002295"/>
                  </a:lnTo>
                  <a:lnTo>
                    <a:pt x="1691013" y="999192"/>
                  </a:lnTo>
                  <a:lnTo>
                    <a:pt x="1641254" y="995914"/>
                  </a:lnTo>
                  <a:lnTo>
                    <a:pt x="1591562" y="992462"/>
                  </a:lnTo>
                  <a:lnTo>
                    <a:pt x="1541941" y="988832"/>
                  </a:lnTo>
                  <a:lnTo>
                    <a:pt x="1492390" y="985025"/>
                  </a:lnTo>
                  <a:lnTo>
                    <a:pt x="1442911" y="981039"/>
                  </a:lnTo>
                  <a:lnTo>
                    <a:pt x="1393506" y="976872"/>
                  </a:lnTo>
                  <a:lnTo>
                    <a:pt x="1344176" y="972524"/>
                  </a:lnTo>
                  <a:lnTo>
                    <a:pt x="1294921" y="967993"/>
                  </a:lnTo>
                  <a:lnTo>
                    <a:pt x="1245744" y="963279"/>
                  </a:lnTo>
                  <a:lnTo>
                    <a:pt x="1196645" y="958380"/>
                  </a:lnTo>
                  <a:lnTo>
                    <a:pt x="1147626" y="953295"/>
                  </a:lnTo>
                  <a:lnTo>
                    <a:pt x="1098689" y="948022"/>
                  </a:lnTo>
                  <a:lnTo>
                    <a:pt x="1049833" y="942561"/>
                  </a:lnTo>
                  <a:lnTo>
                    <a:pt x="1001062" y="936910"/>
                  </a:lnTo>
                  <a:lnTo>
                    <a:pt x="952375" y="931069"/>
                  </a:lnTo>
                  <a:lnTo>
                    <a:pt x="903774" y="925035"/>
                  </a:lnTo>
                  <a:lnTo>
                    <a:pt x="855262" y="918808"/>
                  </a:lnTo>
                  <a:lnTo>
                    <a:pt x="806838" y="912387"/>
                  </a:lnTo>
                  <a:lnTo>
                    <a:pt x="758504" y="905771"/>
                  </a:lnTo>
                  <a:lnTo>
                    <a:pt x="710261" y="898957"/>
                  </a:lnTo>
                  <a:lnTo>
                    <a:pt x="662111" y="891946"/>
                  </a:lnTo>
                  <a:lnTo>
                    <a:pt x="614056" y="884736"/>
                  </a:lnTo>
                  <a:lnTo>
                    <a:pt x="566095" y="877325"/>
                  </a:lnTo>
                  <a:lnTo>
                    <a:pt x="518231" y="869713"/>
                  </a:lnTo>
                  <a:lnTo>
                    <a:pt x="470465" y="861899"/>
                  </a:lnTo>
                  <a:lnTo>
                    <a:pt x="422798" y="853880"/>
                  </a:lnTo>
                  <a:lnTo>
                    <a:pt x="375232" y="845657"/>
                  </a:lnTo>
                  <a:lnTo>
                    <a:pt x="327767" y="837228"/>
                  </a:lnTo>
                  <a:lnTo>
                    <a:pt x="280405" y="828591"/>
                  </a:lnTo>
                  <a:lnTo>
                    <a:pt x="233147" y="819746"/>
                  </a:lnTo>
                  <a:lnTo>
                    <a:pt x="185995" y="810691"/>
                  </a:lnTo>
                  <a:lnTo>
                    <a:pt x="138950" y="801425"/>
                  </a:lnTo>
                  <a:lnTo>
                    <a:pt x="92013" y="791947"/>
                  </a:lnTo>
                  <a:lnTo>
                    <a:pt x="45186" y="782256"/>
                  </a:lnTo>
                  <a:lnTo>
                    <a:pt x="0" y="772675"/>
                  </a:lnTo>
                </a:path>
              </a:pathLst>
            </a:custGeom>
            <a:ln w="25400">
              <a:solidFill>
                <a:srgbClr val="93959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BIZ UDPゴシック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81EA2938-8DB3-4BF8-833E-60AD0FA720EC}"/>
              </a:ext>
            </a:extLst>
          </p:cNvPr>
          <p:cNvSpPr txBox="1"/>
          <p:nvPr userDrawn="1"/>
        </p:nvSpPr>
        <p:spPr>
          <a:xfrm>
            <a:off x="2454206" y="6525070"/>
            <a:ext cx="72106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000" dirty="0">
                <a:effectLst/>
                <a:latin typeface="Arial" panose="020B0604020202020204" pitchFamily="34" charset="0"/>
                <a:ea typeface="游ゴシック" panose="020B0400000000000000" pitchFamily="50" charset="-128"/>
                <a:cs typeface="Times New Roman" panose="02020603050405020304" pitchFamily="18" charset="0"/>
              </a:rPr>
              <a:t>CONFIDENTIAL AND PROPRIETARY. FOR INTERNAL ASTELLAS USE ONLY. DO NOT DISTRIBUTE EXTERNALLY.</a:t>
            </a:r>
            <a:endParaRPr lang="ja-JP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10268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FF93F6-124F-4C20-A87A-A2892E635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321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52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95313" y="2770239"/>
            <a:ext cx="9809213" cy="632636"/>
          </a:xfrm>
          <a:prstGeom prst="rect">
            <a:avLst/>
          </a:prstGeom>
        </p:spPr>
        <p:txBody>
          <a:bodyPr bIns="0" anchor="ctr" anchorCtr="0">
            <a:noAutofit/>
          </a:bodyPr>
          <a:lstStyle>
            <a:lvl1pPr algn="l">
              <a:lnSpc>
                <a:spcPct val="100000"/>
              </a:lnSpc>
              <a:defRPr kumimoji="0" lang="en-US" sz="4800" b="1" i="0" u="none" strike="noStrike" kern="0" cap="all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object 3"/>
          <p:cNvSpPr/>
          <p:nvPr userDrawn="1"/>
        </p:nvSpPr>
        <p:spPr>
          <a:xfrm>
            <a:off x="0" y="273978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3503392"/>
            <a:ext cx="9802812" cy="4857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8" name="スライド番号プレースホルダー 7">
            <a:extLst>
              <a:ext uri="{FF2B5EF4-FFF2-40B4-BE49-F238E27FC236}">
                <a16:creationId xmlns:a16="http://schemas.microsoft.com/office/drawing/2014/main" id="{29FB2570-28BE-451A-909A-9964E2778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8928940-59BF-426B-88C3-5B62EF0857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3840" y="6401415"/>
            <a:ext cx="1280160" cy="350440"/>
          </a:xfrm>
          <a:prstGeom prst="rect">
            <a:avLst/>
          </a:prstGeom>
        </p:spPr>
      </p:pic>
      <p:sp>
        <p:nvSpPr>
          <p:cNvPr id="7" name="TextBox 16">
            <a:extLst>
              <a:ext uri="{FF2B5EF4-FFF2-40B4-BE49-F238E27FC236}">
                <a16:creationId xmlns:a16="http://schemas.microsoft.com/office/drawing/2014/main" id="{41715798-4140-45FA-ACBC-AC93C0003738}"/>
              </a:ext>
            </a:extLst>
          </p:cNvPr>
          <p:cNvSpPr txBox="1"/>
          <p:nvPr userDrawn="1"/>
        </p:nvSpPr>
        <p:spPr>
          <a:xfrm>
            <a:off x="2454206" y="6525070"/>
            <a:ext cx="72106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000" dirty="0">
                <a:effectLst/>
                <a:latin typeface="Arial" panose="020B0604020202020204" pitchFamily="34" charset="0"/>
                <a:ea typeface="游ゴシック" panose="020B0400000000000000" pitchFamily="50" charset="-128"/>
                <a:cs typeface="Times New Roman" panose="02020603050405020304" pitchFamily="18" charset="0"/>
              </a:rPr>
              <a:t>CONFIDENTIAL AND PROPRIETARY. FOR INTERNAL ASTELLAS USE ONLY. DO NOT DISTRIBUTE EXTERNALLY.</a:t>
            </a:r>
            <a:endParaRPr lang="ja-JP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88115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テキスト プレースホルダー 19">
            <a:extLst>
              <a:ext uri="{FF2B5EF4-FFF2-40B4-BE49-F238E27FC236}">
                <a16:creationId xmlns:a16="http://schemas.microsoft.com/office/drawing/2014/main" id="{CBFA9530-92D5-45C0-A31D-BC1E668BF5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8477" y="1381057"/>
            <a:ext cx="11698358" cy="486298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500">
                <a:latin typeface="+mj-lt"/>
              </a:defRPr>
            </a:lvl4pPr>
            <a:lvl5pPr marL="917575" indent="0">
              <a:buFont typeface="Arial" panose="020B0604020202020204" pitchFamily="34" charset="0"/>
              <a:buNone/>
              <a:defRPr sz="1400">
                <a:latin typeface="+mj-lt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3E33FBE-B5D4-4BEC-B8F8-7F369184F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2845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61092" y="1622709"/>
            <a:ext cx="740664" cy="740664"/>
          </a:xfrm>
          <a:prstGeom prst="rect">
            <a:avLst/>
          </a:prstGeo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462243" y="2918071"/>
            <a:ext cx="740664" cy="740664"/>
          </a:xfrm>
          <a:prstGeom prst="rect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72182" y="4217978"/>
            <a:ext cx="740664" cy="740664"/>
          </a:xfrm>
          <a:prstGeom prst="rect">
            <a:avLst/>
          </a:prstGeom>
          <a:solidFill>
            <a:schemeClr val="accent3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336863" y="1622709"/>
            <a:ext cx="740664" cy="740664"/>
          </a:xfrm>
          <a:prstGeom prst="rect">
            <a:avLst/>
          </a:prstGeom>
          <a:solidFill>
            <a:schemeClr val="accent4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336863" y="2918071"/>
            <a:ext cx="740664" cy="740664"/>
          </a:xfrm>
          <a:prstGeom prst="rect">
            <a:avLst/>
          </a:prstGeom>
          <a:solidFill>
            <a:schemeClr val="accent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336863" y="4217978"/>
            <a:ext cx="740664" cy="740664"/>
          </a:xfrm>
          <a:prstGeom prst="rect">
            <a:avLst/>
          </a:prstGeom>
          <a:solidFill>
            <a:schemeClr val="accent6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1231573" y="1604236"/>
            <a:ext cx="3316561" cy="7591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1"/>
          </p:nvPr>
        </p:nvSpPr>
        <p:spPr>
          <a:xfrm>
            <a:off x="1221396" y="2923471"/>
            <a:ext cx="3356318" cy="72986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2"/>
          </p:nvPr>
        </p:nvSpPr>
        <p:spPr>
          <a:xfrm>
            <a:off x="1231572" y="4218399"/>
            <a:ext cx="3316561" cy="7591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23"/>
          </p:nvPr>
        </p:nvSpPr>
        <p:spPr>
          <a:xfrm>
            <a:off x="6077525" y="1604235"/>
            <a:ext cx="3316561" cy="7591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24"/>
          </p:nvPr>
        </p:nvSpPr>
        <p:spPr>
          <a:xfrm>
            <a:off x="6077523" y="2894197"/>
            <a:ext cx="3316561" cy="7591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0292553-7B2C-494C-AC5B-FC28A5E127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77524" y="4208741"/>
            <a:ext cx="3316561" cy="7591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24E856-0790-4CCD-87C2-E5F93880C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5745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clo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253675" y="1371599"/>
            <a:ext cx="5760000" cy="44125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40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201808" y="1381539"/>
            <a:ext cx="5760000" cy="44125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40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57650B-D516-4229-B6A7-7513ECDD7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559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84948" y="1371600"/>
            <a:ext cx="5760000" cy="4413250"/>
          </a:xfrm>
          <a:prstGeom prst="rect">
            <a:avLst/>
          </a:prstGeom>
          <a:solidFill>
            <a:srgbClr val="E7E6E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258417" y="1371600"/>
            <a:ext cx="5760000" cy="44125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40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4767F2-E7B2-469E-B157-F29CB13B2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73915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263211" y="1381539"/>
            <a:ext cx="3600000" cy="441251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 b="0">
                <a:latin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lang="en-US" sz="1600" b="0" kern="1200" spc="-3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500" b="0">
                <a:latin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301872" y="1381539"/>
            <a:ext cx="3600000" cy="441251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 b="0">
                <a:latin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lang="en-US" sz="1600" b="0" kern="1200" spc="-3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500" b="0">
                <a:latin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E6A8181-72D0-456E-AEC7-E5F73431DA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40533" y="1382400"/>
            <a:ext cx="3600000" cy="441251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0188">
              <a:lnSpc>
                <a:spcPct val="100000"/>
              </a:lnSpc>
              <a:spcBef>
                <a:spcPts val="600"/>
              </a:spcBef>
              <a:defRPr kumimoji="1" lang="ja-JP" altLang="en-US" sz="1800" b="0" kern="1200" baseline="0" noProof="0" dirty="0">
                <a:solidFill>
                  <a:srgbClr val="4D4D4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7388" indent="-230188">
              <a:lnSpc>
                <a:spcPct val="100000"/>
              </a:lnSpc>
              <a:spcBef>
                <a:spcPts val="600"/>
              </a:spcBef>
              <a:defRPr kumimoji="1" lang="ja-JP" altLang="en-US" sz="1600" b="0" kern="1200" spc="-3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/>
              </a:defRPr>
            </a:lvl3pPr>
            <a:lvl4pPr marL="914400" indent="-230188">
              <a:lnSpc>
                <a:spcPct val="100000"/>
              </a:lnSpc>
              <a:spcBef>
                <a:spcPts val="600"/>
              </a:spcBef>
              <a:defRPr kumimoji="1" lang="ja-JP" altLang="en-US" sz="1500" b="0" kern="120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7AD9C4-6315-4F6B-8EDF-58921C76E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217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>
          <a:xfrm>
            <a:off x="232651" y="1382110"/>
            <a:ext cx="2700000" cy="44132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sz="1800" b="0">
                <a:latin typeface="Arial" panose="020B0604020202020204" pitchFamily="34" charset="0"/>
              </a:defRPr>
            </a:lvl2pPr>
            <a:lvl3pPr>
              <a:defRPr sz="1600" b="0">
                <a:latin typeface="Arial" panose="020B0604020202020204" pitchFamily="34" charset="0"/>
              </a:defRPr>
            </a:lvl3pPr>
            <a:lvl4pPr>
              <a:defRPr sz="1500" b="0">
                <a:latin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6"/>
          </p:nvPr>
        </p:nvSpPr>
        <p:spPr>
          <a:xfrm>
            <a:off x="3234658" y="1392621"/>
            <a:ext cx="2700000" cy="44132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0188">
              <a:defRPr kumimoji="1" lang="ja-JP" altLang="en-US" sz="1800" b="0" kern="1200" baseline="0" noProof="0" dirty="0">
                <a:solidFill>
                  <a:srgbClr val="4D4D4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7388" indent="-230188">
              <a:defRPr kumimoji="1" lang="ja-JP" altLang="en-US" sz="1600" b="0" kern="120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30188">
              <a:defRPr kumimoji="1" lang="ja-JP" altLang="en-US" sz="1500" b="0" kern="120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7"/>
          </p:nvPr>
        </p:nvSpPr>
        <p:spPr>
          <a:xfrm>
            <a:off x="6236665" y="1371600"/>
            <a:ext cx="2700000" cy="44132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0188">
              <a:def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2pPr>
            <a:lvl3pPr marL="687388" indent="-230188">
              <a:def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3pPr>
            <a:lvl4pPr marL="914400" indent="-230188">
              <a:defRPr kumimoji="1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9238672" y="1371600"/>
            <a:ext cx="2700000" cy="44132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20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0188">
              <a:def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2pPr>
            <a:lvl3pPr marL="687388" indent="-230188">
              <a:def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3pPr>
            <a:lvl4pPr marL="914400" indent="-230188">
              <a:defRPr kumimoji="1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BIZ UDPゴシック"/>
                <a:cs typeface="Arial" panose="020B0604020202020204" pitchFamily="34" charset="0"/>
              </a:defRPr>
            </a:lvl4pPr>
            <a:lvl5pPr>
              <a:defRPr sz="1400" b="0"/>
            </a:lvl5pPr>
            <a:lvl6pPr>
              <a:defRPr sz="12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6F9013-F7D1-432A-871B-2ECED646D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1745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98632" y="1371600"/>
            <a:ext cx="9838264" cy="467597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461963" indent="-230188">
              <a:defRPr kumimoji="1" lang="ja-JP" altLang="en-US" sz="1800" b="0" kern="1200" baseline="0" noProof="0" dirty="0">
                <a:solidFill>
                  <a:srgbClr val="4D4D4F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87388" indent="-230188">
              <a:defRPr kumimoji="1" lang="ja-JP" alt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30188">
              <a:defRPr kumimoji="1" lang="ja-JP" altLang="en-US" sz="1500" b="0" kern="1200" noProof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defRPr sz="1400"/>
            </a:lvl5pPr>
            <a:lvl6pPr>
              <a:defRPr sz="1800"/>
            </a:lvl6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200" y="451455"/>
            <a:ext cx="685800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299563" y="1390327"/>
            <a:ext cx="1435395" cy="1669164"/>
          </a:xfrm>
          <a:prstGeom prst="rect">
            <a:avLst/>
          </a:prstGeom>
          <a:solidFill>
            <a:srgbClr val="E7E6E6"/>
          </a:solidFill>
        </p:spPr>
        <p:txBody>
          <a:bodyPr wrap="none">
            <a:normAutofit/>
          </a:bodyPr>
          <a:lstStyle>
            <a:lvl1pPr>
              <a:defRPr sz="1050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888147-4717-4FC4-B543-C95AF7593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2072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9893FC-E937-482C-9559-DDB451F3D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05590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9893FC-E937-482C-9559-DDB451F3D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69408" y="451457"/>
            <a:ext cx="1090879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BEB4865A-950F-4933-8094-59CA9B942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1331843"/>
            <a:ext cx="11736313" cy="47540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endParaRPr kumimoji="1" lang="en-US" altLang="ja-JP" dirty="0"/>
          </a:p>
          <a:p>
            <a:pPr lvl="4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3632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2" r:id="rId2"/>
    <p:sldLayoutId id="2147483847" r:id="rId3"/>
    <p:sldLayoutId id="2147483858" r:id="rId4"/>
    <p:sldLayoutId id="2147483848" r:id="rId5"/>
    <p:sldLayoutId id="2147483855" r:id="rId6"/>
    <p:sldLayoutId id="2147483849" r:id="rId7"/>
    <p:sldLayoutId id="2147483854" r:id="rId8"/>
    <p:sldLayoutId id="2147483850" r:id="rId9"/>
    <p:sldLayoutId id="2147483856" r:id="rId10"/>
    <p:sldLayoutId id="214748385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kumimoji="1" sz="2800" b="1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kumimoji="1" sz="2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461963" indent="-23018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kumimoji="1" sz="1800" kern="1200" baseline="0">
          <a:solidFill>
            <a:srgbClr val="4D4D4F"/>
          </a:solidFill>
          <a:latin typeface="+mn-lt"/>
          <a:ea typeface="+mn-ea"/>
          <a:cs typeface="Arial" panose="020B0604020202020204" pitchFamily="34" charset="0"/>
        </a:defRPr>
      </a:lvl2pPr>
      <a:lvl3pPr marL="687388" indent="-23018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kumimoji="1"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914400" indent="-23018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kumimoji="1" sz="15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kumimoji="1" sz="18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288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kumimoji="1"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344612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kumimoji="1"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F6BBF91-E0D5-43BB-9E37-35275B7CD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二次性骨折予防継続管理料の説明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4D7BA239-5028-5A37-3DD6-0F9772075F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3" y="1167737"/>
            <a:ext cx="7632854" cy="551735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4167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F6BBF91-E0D5-43BB-9E37-35275B7CD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z="2800" dirty="0"/>
              <a:t>今後の診療の流れ</a:t>
            </a:r>
            <a:endParaRPr kumimoji="1" lang="ja-JP" altLang="en-US" dirty="0"/>
          </a:p>
        </p:txBody>
      </p:sp>
      <p:sp>
        <p:nvSpPr>
          <p:cNvPr id="3" name="ホームベース 51">
            <a:extLst>
              <a:ext uri="{FF2B5EF4-FFF2-40B4-BE49-F238E27FC236}">
                <a16:creationId xmlns:a16="http://schemas.microsoft.com/office/drawing/2014/main" id="{EFA6B7F6-142E-AC3D-CB16-9E7AC09A0F92}"/>
              </a:ext>
            </a:extLst>
          </p:cNvPr>
          <p:cNvSpPr/>
          <p:nvPr/>
        </p:nvSpPr>
        <p:spPr>
          <a:xfrm>
            <a:off x="406037" y="1546571"/>
            <a:ext cx="2048791" cy="528454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手術をする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2" name="ホームベース 52">
            <a:extLst>
              <a:ext uri="{FF2B5EF4-FFF2-40B4-BE49-F238E27FC236}">
                <a16:creationId xmlns:a16="http://schemas.microsoft.com/office/drawing/2014/main" id="{F227DA7E-000C-5D8F-DD66-8E2946B7494C}"/>
              </a:ext>
            </a:extLst>
          </p:cNvPr>
          <p:cNvSpPr/>
          <p:nvPr/>
        </p:nvSpPr>
        <p:spPr>
          <a:xfrm>
            <a:off x="2454828" y="1546570"/>
            <a:ext cx="3080733" cy="528455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リハビリをする</a:t>
            </a:r>
            <a:endParaRPr kumimoji="1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3" name="ホームベース 55">
            <a:extLst>
              <a:ext uri="{FF2B5EF4-FFF2-40B4-BE49-F238E27FC236}">
                <a16:creationId xmlns:a16="http://schemas.microsoft.com/office/drawing/2014/main" id="{E377F78D-968E-5BEA-7D36-158DCFE80A5B}"/>
              </a:ext>
            </a:extLst>
          </p:cNvPr>
          <p:cNvSpPr/>
          <p:nvPr/>
        </p:nvSpPr>
        <p:spPr>
          <a:xfrm>
            <a:off x="5535561" y="1543934"/>
            <a:ext cx="6180293" cy="529275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骨粗しょう症の治療を続ける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6DEE70-EBAB-7ED0-1AB4-943898AD641B}"/>
              </a:ext>
            </a:extLst>
          </p:cNvPr>
          <p:cNvSpPr/>
          <p:nvPr/>
        </p:nvSpPr>
        <p:spPr>
          <a:xfrm>
            <a:off x="418861" y="2536185"/>
            <a:ext cx="2038626" cy="35945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≪入院≫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u="sng" dirty="0">
                <a:solidFill>
                  <a:schemeClr val="accent1"/>
                </a:solidFill>
                <a:latin typeface="BIZ UDPゴシック"/>
                <a:ea typeface="BIZ UDPゴシック"/>
              </a:rPr>
              <a:t>●●●●</a:t>
            </a:r>
            <a:r>
              <a:rPr kumimoji="1" lang="ja-JP" altLang="en-US" sz="1600" b="0" i="0" u="sng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病院</a:t>
            </a:r>
            <a:endParaRPr kumimoji="1" lang="en-US" altLang="ja-JP" sz="16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C104FF8-FE79-E2E1-F231-E1DD00850CB5}"/>
              </a:ext>
            </a:extLst>
          </p:cNvPr>
          <p:cNvSpPr/>
          <p:nvPr/>
        </p:nvSpPr>
        <p:spPr>
          <a:xfrm>
            <a:off x="2454828" y="2538600"/>
            <a:ext cx="3080733" cy="358689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dirty="0">
                <a:solidFill>
                  <a:prstClr val="black"/>
                </a:solidFill>
                <a:latin typeface="BIZ UDPゴシック"/>
                <a:ea typeface="BIZ UDPゴシック"/>
              </a:rPr>
              <a:t>≪入院≫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sng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回復期リハビリテーション病院　　　 </a:t>
            </a:r>
            <a:endParaRPr kumimoji="1" lang="en-US" altLang="ja-JP" sz="16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F67BF9A6-3F72-F147-7CE9-63C56844F74C}"/>
              </a:ext>
            </a:extLst>
          </p:cNvPr>
          <p:cNvSpPr/>
          <p:nvPr/>
        </p:nvSpPr>
        <p:spPr>
          <a:xfrm>
            <a:off x="9117564" y="2536723"/>
            <a:ext cx="2579866" cy="3584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dirty="0">
                <a:solidFill>
                  <a:prstClr val="black"/>
                </a:solidFill>
                <a:latin typeface="BIZ UDPゴシック"/>
                <a:ea typeface="BIZ UDPゴシック"/>
              </a:rPr>
              <a:t>≪</a:t>
            </a: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通院≫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u="sng" dirty="0">
                <a:solidFill>
                  <a:schemeClr val="accent1"/>
                </a:solidFill>
                <a:latin typeface="BIZ UDPゴシック"/>
                <a:ea typeface="BIZ UDPゴシック"/>
              </a:rPr>
              <a:t>クリニック</a:t>
            </a:r>
            <a:endParaRPr kumimoji="1" lang="en-US" altLang="ja-JP" sz="18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C3307A96-6CF0-452E-ECE7-E68D532517F8}"/>
              </a:ext>
            </a:extLst>
          </p:cNvPr>
          <p:cNvSpPr/>
          <p:nvPr/>
        </p:nvSpPr>
        <p:spPr>
          <a:xfrm>
            <a:off x="5535561" y="2536034"/>
            <a:ext cx="1965776" cy="3584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dirty="0">
                <a:solidFill>
                  <a:prstClr val="black"/>
                </a:solidFill>
                <a:latin typeface="BIZ UDPゴシック"/>
                <a:ea typeface="BIZ UDPゴシック"/>
              </a:rPr>
              <a:t>≪</a:t>
            </a: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通院</a:t>
            </a:r>
            <a:r>
              <a:rPr kumimoji="1" lang="ja-JP" altLang="en-US" sz="2000" dirty="0">
                <a:solidFill>
                  <a:prstClr val="black"/>
                </a:solidFill>
                <a:latin typeface="BIZ UDPゴシック"/>
                <a:ea typeface="BIZ UDPゴシック"/>
              </a:rPr>
              <a:t>≫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u="sng" dirty="0">
                <a:solidFill>
                  <a:schemeClr val="accent1"/>
                </a:solidFill>
                <a:latin typeface="BIZ UDPゴシック"/>
                <a:ea typeface="BIZ UDPゴシック"/>
              </a:rPr>
              <a:t>●●●●病院</a:t>
            </a:r>
            <a:endParaRPr kumimoji="1" lang="en-US" altLang="ja-JP" sz="16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1B8190A-DA94-D4F5-F2A4-F3437A5AD68D}"/>
              </a:ext>
            </a:extLst>
          </p:cNvPr>
          <p:cNvSpPr txBox="1"/>
          <p:nvPr/>
        </p:nvSpPr>
        <p:spPr>
          <a:xfrm>
            <a:off x="355802" y="4409220"/>
            <a:ext cx="20386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手術前後の検査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骨密度検査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kumimoji="1" lang="ja-JP" altLang="en-US" sz="1600" dirty="0">
                <a:solidFill>
                  <a:srgbClr val="004C97"/>
                </a:solidFill>
                <a:latin typeface="BIZ UDPゴシック"/>
                <a:ea typeface="BIZ UDPゴシック"/>
              </a:rPr>
              <a:t>レントゲン</a:t>
            </a:r>
            <a:endParaRPr kumimoji="1" lang="en-US" altLang="ja-JP" sz="1600" dirty="0">
              <a:solidFill>
                <a:srgbClr val="004C97"/>
              </a:solidFill>
              <a:latin typeface="BIZ UDPゴシック"/>
              <a:ea typeface="BIZ UDPゴシック"/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採血　など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FEFAC50E-91BA-6D09-3BAB-613A5A7B87DB}"/>
              </a:ext>
            </a:extLst>
          </p:cNvPr>
          <p:cNvSpPr txBox="1"/>
          <p:nvPr/>
        </p:nvSpPr>
        <p:spPr>
          <a:xfrm>
            <a:off x="2477936" y="4409221"/>
            <a:ext cx="2757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リハビリテーション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lang="ja-JP" altLang="en-US" sz="1600" dirty="0">
                <a:solidFill>
                  <a:srgbClr val="004C97"/>
                </a:solidFill>
                <a:latin typeface="BIZ UDPゴシック"/>
                <a:ea typeface="BIZ UDPゴシック"/>
              </a:rPr>
              <a:t>●●●●病院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の　　　　　　外来受診の予約</a:t>
            </a: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92B76DA4-336A-D924-BAC2-CF510D0595EE}"/>
              </a:ext>
            </a:extLst>
          </p:cNvPr>
          <p:cNvSpPr txBox="1"/>
          <p:nvPr/>
        </p:nvSpPr>
        <p:spPr>
          <a:xfrm>
            <a:off x="5488937" y="4414802"/>
            <a:ext cx="19657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骨折した所の　状態を確認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クリニックご紹介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EDCAA628-AD44-1FD6-4102-5F8E0DF12886}"/>
              </a:ext>
            </a:extLst>
          </p:cNvPr>
          <p:cNvSpPr txBox="1"/>
          <p:nvPr/>
        </p:nvSpPr>
        <p:spPr>
          <a:xfrm>
            <a:off x="9079459" y="4392185"/>
            <a:ext cx="26745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骨粗しょう症治療を継続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お困りの時など、　　　　　　●●●●</a:t>
            </a:r>
            <a:r>
              <a:rPr lang="ja-JP" altLang="en-US" sz="1600" dirty="0">
                <a:solidFill>
                  <a:srgbClr val="004C97"/>
                </a:solidFill>
                <a:latin typeface="BIZ UDPゴシック"/>
                <a:ea typeface="BIZ UDPゴシック"/>
              </a:rPr>
              <a:t>病院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で診察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BIZ UDPゴシック"/>
              <a:ea typeface="BIZ UDPゴシック"/>
              <a:cs typeface="+mn-cs"/>
            </a:endParaRPr>
          </a:p>
        </p:txBody>
      </p:sp>
      <p:sp>
        <p:nvSpPr>
          <p:cNvPr id="42" name="矢印: 右 41">
            <a:extLst>
              <a:ext uri="{FF2B5EF4-FFF2-40B4-BE49-F238E27FC236}">
                <a16:creationId xmlns:a16="http://schemas.microsoft.com/office/drawing/2014/main" id="{8A1EDEA4-FEE2-0DCB-41BF-23E66A0E96A3}"/>
              </a:ext>
            </a:extLst>
          </p:cNvPr>
          <p:cNvSpPr/>
          <p:nvPr/>
        </p:nvSpPr>
        <p:spPr>
          <a:xfrm>
            <a:off x="419326" y="5373159"/>
            <a:ext cx="5195089" cy="737804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　　 再び骨折しないための入院中の骨粗しょう症治療</a:t>
            </a:r>
          </a:p>
        </p:txBody>
      </p:sp>
      <p:sp>
        <p:nvSpPr>
          <p:cNvPr id="43" name="矢印: 右 42">
            <a:extLst>
              <a:ext uri="{FF2B5EF4-FFF2-40B4-BE49-F238E27FC236}">
                <a16:creationId xmlns:a16="http://schemas.microsoft.com/office/drawing/2014/main" id="{B7B43C0F-8F40-9A46-5152-4B5939E9B2FF}"/>
              </a:ext>
            </a:extLst>
          </p:cNvPr>
          <p:cNvSpPr/>
          <p:nvPr/>
        </p:nvSpPr>
        <p:spPr>
          <a:xfrm>
            <a:off x="5535562" y="5186930"/>
            <a:ext cx="6518786" cy="1113341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Z UDPゴシック"/>
                <a:ea typeface="BIZ UDPゴシック"/>
                <a:cs typeface="+mn-cs"/>
              </a:rPr>
              <a:t>　　　　　　外来通院での骨粗しょう症治療</a:t>
            </a:r>
          </a:p>
        </p:txBody>
      </p: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2A6B5D9A-2073-9DAA-804A-DC9F9E971B0E}"/>
              </a:ext>
            </a:extLst>
          </p:cNvPr>
          <p:cNvCxnSpPr/>
          <p:nvPr/>
        </p:nvCxnSpPr>
        <p:spPr>
          <a:xfrm>
            <a:off x="418861" y="3539614"/>
            <a:ext cx="7059165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46FA8880-A22B-CCBB-C49B-B3374E602780}"/>
              </a:ext>
            </a:extLst>
          </p:cNvPr>
          <p:cNvCxnSpPr/>
          <p:nvPr/>
        </p:nvCxnSpPr>
        <p:spPr>
          <a:xfrm>
            <a:off x="9093795" y="3539614"/>
            <a:ext cx="2598966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3">
            <a:extLst>
              <a:ext uri="{FF2B5EF4-FFF2-40B4-BE49-F238E27FC236}">
                <a16:creationId xmlns:a16="http://schemas.microsoft.com/office/drawing/2014/main" id="{99A55A8D-A7F2-B465-DFCD-4B9CFD261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0185" y="3652169"/>
            <a:ext cx="865493" cy="830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4">
            <a:extLst>
              <a:ext uri="{FF2B5EF4-FFF2-40B4-BE49-F238E27FC236}">
                <a16:creationId xmlns:a16="http://schemas.microsoft.com/office/drawing/2014/main" id="{3E3F00A4-46F9-70DC-2775-710AFFA468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401" y="3692306"/>
            <a:ext cx="772276" cy="70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5">
            <a:extLst>
              <a:ext uri="{FF2B5EF4-FFF2-40B4-BE49-F238E27FC236}">
                <a16:creationId xmlns:a16="http://schemas.microsoft.com/office/drawing/2014/main" id="{200F78FE-EF7A-4BBD-C7B0-93E47ED97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07" y="5537447"/>
            <a:ext cx="430019" cy="362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6">
            <a:extLst>
              <a:ext uri="{FF2B5EF4-FFF2-40B4-BE49-F238E27FC236}">
                <a16:creationId xmlns:a16="http://schemas.microsoft.com/office/drawing/2014/main" id="{2FECBFA3-FEA1-AD0D-362A-EC6BCEFA80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61" y="5504017"/>
            <a:ext cx="555635" cy="468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9">
            <a:extLst>
              <a:ext uri="{FF2B5EF4-FFF2-40B4-BE49-F238E27FC236}">
                <a16:creationId xmlns:a16="http://schemas.microsoft.com/office/drawing/2014/main" id="{484B6D88-2800-9299-FB5C-3C7E2A0D6A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0373" y="5482640"/>
            <a:ext cx="305383" cy="54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4">
            <a:extLst>
              <a:ext uri="{FF2B5EF4-FFF2-40B4-BE49-F238E27FC236}">
                <a16:creationId xmlns:a16="http://schemas.microsoft.com/office/drawing/2014/main" id="{2EA77DE6-0B72-6AED-4909-7FC1A3431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173" y="3706956"/>
            <a:ext cx="772276" cy="70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6D340D9C-619F-1357-D5B7-87F1E85A4A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88" y="3767550"/>
            <a:ext cx="905503" cy="624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10">
            <a:extLst>
              <a:ext uri="{FF2B5EF4-FFF2-40B4-BE49-F238E27FC236}">
                <a16:creationId xmlns:a16="http://schemas.microsoft.com/office/drawing/2014/main" id="{0BD75FD7-4887-08AA-E9E9-78AD21DA6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541" y="3692306"/>
            <a:ext cx="644833" cy="79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12">
            <a:extLst>
              <a:ext uri="{FF2B5EF4-FFF2-40B4-BE49-F238E27FC236}">
                <a16:creationId xmlns:a16="http://schemas.microsoft.com/office/drawing/2014/main" id="{292DF002-96DF-171D-D585-6084AB563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0759" y="3664949"/>
            <a:ext cx="944299" cy="752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3036319B-DEFB-B85A-73D6-B0091BADE8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961" y="3089744"/>
            <a:ext cx="1646276" cy="132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矢印: 下カーブ 55">
            <a:extLst>
              <a:ext uri="{FF2B5EF4-FFF2-40B4-BE49-F238E27FC236}">
                <a16:creationId xmlns:a16="http://schemas.microsoft.com/office/drawing/2014/main" id="{4A47A882-5324-776B-8E61-A5FB4ACE6105}"/>
              </a:ext>
            </a:extLst>
          </p:cNvPr>
          <p:cNvSpPr/>
          <p:nvPr/>
        </p:nvSpPr>
        <p:spPr>
          <a:xfrm>
            <a:off x="7325708" y="2502239"/>
            <a:ext cx="2038626" cy="884681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</a:endParaRPr>
          </a:p>
        </p:txBody>
      </p:sp>
      <p:sp>
        <p:nvSpPr>
          <p:cNvPr id="57" name="矢印: 下カーブ 56">
            <a:extLst>
              <a:ext uri="{FF2B5EF4-FFF2-40B4-BE49-F238E27FC236}">
                <a16:creationId xmlns:a16="http://schemas.microsoft.com/office/drawing/2014/main" id="{4C97C41E-F9F1-236F-2F56-7B7D757F1542}"/>
              </a:ext>
            </a:extLst>
          </p:cNvPr>
          <p:cNvSpPr/>
          <p:nvPr/>
        </p:nvSpPr>
        <p:spPr>
          <a:xfrm rot="10800000">
            <a:off x="7178056" y="4346613"/>
            <a:ext cx="2038626" cy="884681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07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F6BBF91-E0D5-43BB-9E37-35275B7CD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重症骨粗鬆症の定義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366C887E-546F-2245-BCB3-403AF5056508}"/>
              </a:ext>
            </a:extLst>
          </p:cNvPr>
          <p:cNvSpPr txBox="1"/>
          <p:nvPr/>
        </p:nvSpPr>
        <p:spPr>
          <a:xfrm>
            <a:off x="7172960" y="6434344"/>
            <a:ext cx="4777272" cy="307777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7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Soen</a:t>
            </a:r>
            <a:r>
              <a:rPr kumimoji="1" lang="en-US" altLang="ja-JP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 S, et al</a:t>
            </a:r>
            <a:r>
              <a:rPr kumimoji="1" lang="ja-JP" altLang="en-US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：</a:t>
            </a:r>
            <a:r>
              <a:rPr kumimoji="1" lang="en-US" altLang="ja-JP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J Bone Miner </a:t>
            </a:r>
            <a:r>
              <a:rPr kumimoji="1" lang="en-US" altLang="ja-JP" sz="7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Metab</a:t>
            </a:r>
            <a:r>
              <a:rPr kumimoji="1" lang="en-US" altLang="ja-JP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 31</a:t>
            </a:r>
            <a:r>
              <a:rPr kumimoji="1" lang="ja-JP" altLang="en-US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：</a:t>
            </a:r>
            <a:r>
              <a:rPr kumimoji="1" lang="en-US" altLang="ja-JP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247, 2013</a:t>
            </a:r>
            <a:endParaRPr kumimoji="1" lang="en-US" altLang="ja-JP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GPｺﾞｼｯｸM" panose="020B0600000000000000" pitchFamily="50" charset="-128"/>
              <a:ea typeface="HGPｺﾞｼｯｸM" panose="020B0600000000000000" pitchFamily="50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宗圓聰ほか：</a:t>
            </a:r>
            <a:r>
              <a:rPr kumimoji="1" lang="en-US" altLang="ja-JP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Osteoporosis Japan 21</a:t>
            </a:r>
            <a:r>
              <a:rPr kumimoji="1" lang="ja-JP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：</a:t>
            </a:r>
            <a:r>
              <a:rPr kumimoji="1" lang="en-US" altLang="ja-JP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9, 2013</a:t>
            </a:r>
            <a:r>
              <a:rPr kumimoji="1" lang="ja-JP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［原発性骨粗鬆症の診断基準（</a:t>
            </a:r>
            <a:r>
              <a:rPr kumimoji="1" lang="en-US" altLang="ja-JP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2012</a:t>
            </a:r>
            <a:r>
              <a:rPr kumimoji="1" lang="ja-JP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年度改訂版）］［</a:t>
            </a:r>
            <a:r>
              <a:rPr kumimoji="1" lang="en-US" altLang="ja-JP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R-07087/ROM00191</a:t>
            </a:r>
            <a:r>
              <a:rPr kumimoji="1" lang="ja-JP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］</a:t>
            </a:r>
            <a:endParaRPr kumimoji="1" lang="en-US" altLang="ja-JP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GPｺﾞｼｯｸM" panose="020B0600000000000000" pitchFamily="50" charset="-128"/>
              <a:ea typeface="HGPｺﾞｼｯｸM" panose="020B0600000000000000" pitchFamily="50" charset="-128"/>
              <a:cs typeface="+mn-cs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CD3AB9DF-3911-7F37-7E19-FBFA3290EB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918" y="1259177"/>
            <a:ext cx="6069390" cy="5147366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F5F0E58F-847D-8130-3F5A-EC84C8C09D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0320" y="1752424"/>
            <a:ext cx="5579912" cy="3414112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575BF850-8ABA-9E8C-927F-A7FC1113CF9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9246" b="44402"/>
          <a:stretch/>
        </p:blipFill>
        <p:spPr>
          <a:xfrm>
            <a:off x="6441911" y="1381097"/>
            <a:ext cx="3609798" cy="27684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BEE328EB-1311-B2E2-FBEA-1F7F869F9D6C}"/>
              </a:ext>
            </a:extLst>
          </p:cNvPr>
          <p:cNvSpPr txBox="1"/>
          <p:nvPr/>
        </p:nvSpPr>
        <p:spPr>
          <a:xfrm>
            <a:off x="9020973" y="5261018"/>
            <a:ext cx="2929259" cy="830997"/>
          </a:xfrm>
          <a:prstGeom prst="rect">
            <a:avLst/>
          </a:prstGeom>
          <a:solidFill>
            <a:schemeClr val="bg1"/>
          </a:solidFill>
          <a:ln>
            <a:noFill/>
            <a:prstDash val="sysDash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kumimoji="1" sz="60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</a:defRPr>
            </a:lvl1pPr>
          </a:lstStyle>
          <a:p>
            <a:r>
              <a:rPr lang="en-US" altLang="ja-JP" sz="800" dirty="0"/>
              <a:t>12</a:t>
            </a:r>
            <a:r>
              <a:rPr lang="ja-JP" altLang="en-US" sz="800" dirty="0"/>
              <a:t>）</a:t>
            </a:r>
            <a:r>
              <a:rPr lang="en-US" altLang="ja-JP" sz="800" dirty="0"/>
              <a:t>Marcus R, et al</a:t>
            </a:r>
            <a:r>
              <a:rPr lang="ja-JP" altLang="en-US" sz="800" dirty="0"/>
              <a:t>：</a:t>
            </a:r>
            <a:r>
              <a:rPr lang="en-US" altLang="ja-JP" sz="800" dirty="0"/>
              <a:t>J Bone Miner Res 18</a:t>
            </a:r>
            <a:r>
              <a:rPr lang="ja-JP" altLang="en-US" sz="800" dirty="0"/>
              <a:t>：</a:t>
            </a:r>
            <a:r>
              <a:rPr lang="en-US" altLang="ja-JP" sz="800" dirty="0"/>
              <a:t>18, 2003</a:t>
            </a:r>
          </a:p>
          <a:p>
            <a:r>
              <a:rPr lang="en-US" altLang="ja-JP" sz="800" dirty="0"/>
              <a:t>13</a:t>
            </a:r>
            <a:r>
              <a:rPr lang="ja-JP" altLang="en-US" sz="800" dirty="0"/>
              <a:t>）</a:t>
            </a:r>
            <a:r>
              <a:rPr lang="en-US" altLang="ja-JP" sz="800" dirty="0" err="1"/>
              <a:t>Shiraki</a:t>
            </a:r>
            <a:r>
              <a:rPr lang="en-US" altLang="ja-JP" sz="800" dirty="0"/>
              <a:t> M, et al</a:t>
            </a:r>
            <a:r>
              <a:rPr lang="ja-JP" altLang="en-US" sz="800" dirty="0"/>
              <a:t>：</a:t>
            </a:r>
            <a:r>
              <a:rPr lang="en-US" altLang="ja-JP" sz="800" dirty="0"/>
              <a:t>J Bone Miner </a:t>
            </a:r>
            <a:r>
              <a:rPr lang="en-US" altLang="ja-JP" sz="800" dirty="0" err="1"/>
              <a:t>Metab</a:t>
            </a:r>
            <a:r>
              <a:rPr lang="en-US" altLang="ja-JP" sz="800" dirty="0"/>
              <a:t> 29</a:t>
            </a:r>
            <a:r>
              <a:rPr lang="ja-JP" altLang="en-US" sz="800" dirty="0"/>
              <a:t>：</a:t>
            </a:r>
            <a:r>
              <a:rPr lang="en-US" altLang="ja-JP" sz="800" dirty="0"/>
              <a:t>37, 2011</a:t>
            </a:r>
          </a:p>
          <a:p>
            <a:r>
              <a:rPr lang="en-US" altLang="ja-JP" sz="800" dirty="0"/>
              <a:t>14</a:t>
            </a:r>
            <a:r>
              <a:rPr lang="ja-JP" altLang="en-US" sz="800" dirty="0"/>
              <a:t>）</a:t>
            </a:r>
            <a:r>
              <a:rPr lang="en-US" altLang="ja-JP" sz="800" dirty="0"/>
              <a:t>Gallagher JC, et al</a:t>
            </a:r>
            <a:r>
              <a:rPr lang="ja-JP" altLang="en-US" sz="800" dirty="0"/>
              <a:t>：</a:t>
            </a:r>
            <a:r>
              <a:rPr lang="en-US" altLang="ja-JP" sz="800" dirty="0"/>
              <a:t>J Clin Endocrinol </a:t>
            </a:r>
            <a:r>
              <a:rPr lang="en-US" altLang="ja-JP" sz="800" dirty="0" err="1"/>
              <a:t>Metab</a:t>
            </a:r>
            <a:r>
              <a:rPr lang="en-US" altLang="ja-JP" sz="800" dirty="0"/>
              <a:t> 90</a:t>
            </a:r>
            <a:r>
              <a:rPr lang="ja-JP" altLang="en-US" sz="800" dirty="0"/>
              <a:t>：</a:t>
            </a:r>
            <a:r>
              <a:rPr lang="en-US" altLang="ja-JP" sz="800" dirty="0"/>
              <a:t>1583, 2005</a:t>
            </a:r>
          </a:p>
          <a:p>
            <a:r>
              <a:rPr lang="en-US" altLang="ja-JP" sz="800" dirty="0"/>
              <a:t>15</a:t>
            </a:r>
            <a:r>
              <a:rPr lang="ja-JP" altLang="en-US" sz="800" dirty="0"/>
              <a:t>）</a:t>
            </a:r>
            <a:r>
              <a:rPr lang="nb-NO" altLang="ja-JP" sz="800" dirty="0"/>
              <a:t>Genant HK, et al</a:t>
            </a:r>
            <a:r>
              <a:rPr lang="ja-JP" altLang="nb-NO" sz="800" dirty="0"/>
              <a:t>：</a:t>
            </a:r>
            <a:r>
              <a:rPr lang="nb-NO" altLang="ja-JP" sz="800" dirty="0"/>
              <a:t>J Bone Miner Res 8</a:t>
            </a:r>
            <a:r>
              <a:rPr lang="ja-JP" altLang="nb-NO" sz="800" dirty="0"/>
              <a:t>：</a:t>
            </a:r>
            <a:r>
              <a:rPr lang="nb-NO" altLang="ja-JP" sz="800" dirty="0"/>
              <a:t>1137, 1993</a:t>
            </a:r>
          </a:p>
          <a:p>
            <a:r>
              <a:rPr lang="en-US" altLang="ja-JP" sz="800" dirty="0"/>
              <a:t>16</a:t>
            </a:r>
            <a:r>
              <a:rPr lang="ja-JP" altLang="en-US" sz="800" dirty="0"/>
              <a:t>）</a:t>
            </a:r>
            <a:r>
              <a:rPr lang="en-US" altLang="ja-JP" sz="800" dirty="0" err="1"/>
              <a:t>Bliuc</a:t>
            </a:r>
            <a:r>
              <a:rPr lang="en-US" altLang="ja-JP" sz="800" dirty="0"/>
              <a:t> D, et al</a:t>
            </a:r>
            <a:r>
              <a:rPr lang="ja-JP" altLang="en-US" sz="800" dirty="0"/>
              <a:t>：</a:t>
            </a:r>
            <a:r>
              <a:rPr lang="en-US" altLang="ja-JP" sz="800" dirty="0"/>
              <a:t>JAMA 301</a:t>
            </a:r>
            <a:r>
              <a:rPr lang="ja-JP" altLang="en-US" sz="800" dirty="0"/>
              <a:t>：</a:t>
            </a:r>
            <a:r>
              <a:rPr lang="en-US" altLang="ja-JP" sz="800" dirty="0"/>
              <a:t>513, 2009</a:t>
            </a:r>
          </a:p>
          <a:p>
            <a:endParaRPr lang="en-US" altLang="ja-JP" sz="800" dirty="0"/>
          </a:p>
        </p:txBody>
      </p:sp>
    </p:spTree>
    <p:extLst>
      <p:ext uri="{BB962C8B-B14F-4D97-AF65-F5344CB8AC3E}">
        <p14:creationId xmlns:p14="http://schemas.microsoft.com/office/powerpoint/2010/main" val="260674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B70698-3725-43BC-9A22-644706758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84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B70698-3725-43BC-9A22-644706758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FA4DEA75-584F-0B06-1775-049AE97DEA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ja-JP" altLang="en-US" sz="2000" dirty="0"/>
              <a:t>大腿骨近位部骨折患者のその後の生存率は、一般人口より低い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4071964-3DE6-4A90-9B44-EA185DAA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/>
              <a:t>大腿骨近位部骨折後の生存率</a:t>
            </a:r>
            <a:endParaRPr kumimoji="1" lang="ja-JP" altLang="en-US" dirty="0"/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04D2585C-1340-9755-13B2-FA2CBDCBDD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2360" y="1850056"/>
            <a:ext cx="8007281" cy="48647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81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B70698-3725-43BC-9A22-644706758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B70698-3725-43BC-9A22-644706758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F4071964-3DE6-4A90-9B44-EA185DAA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/>
              <a:t>主な骨粗鬆症治療薬の評価</a:t>
            </a:r>
            <a:r>
              <a:rPr lang="ja-JP" altLang="en-US" sz="2800" dirty="0"/>
              <a:t>（骨粗鬆症性椎体骨折診療マニュアル）</a:t>
            </a:r>
            <a:endParaRPr kumimoji="1" lang="ja-JP" altLang="en-US" dirty="0"/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1E455611-37C5-4702-89D2-A41AB7C7C2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3275" y="1163384"/>
            <a:ext cx="8205451" cy="549867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736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F983F5D0-31B5-4491-886B-852696B28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ja-JP" altLang="en-US" dirty="0"/>
              <a:t>骨粗鬆症を専門とする医師が診療を担当します。骨粗鬆診断のための骨密度測定、血液検査を実施し、投薬治療を中心に、それぞれの患者さまに合わせた治療法を選択します。</a:t>
            </a:r>
            <a:endParaRPr lang="en-US" altLang="ja-JP" dirty="0"/>
          </a:p>
          <a:p>
            <a:pPr marL="0" indent="0">
              <a:buNone/>
            </a:pPr>
            <a:r>
              <a:rPr lang="ja-JP" altLang="en-US" dirty="0"/>
              <a:t>原則的に水曜日午後（完全予約制）に診療を行っていますが、多くの患者さまに受診いただいているため、その他の整形外科外来でも対応しています。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F6BBF91-E0D5-43BB-9E37-35275B7CD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外来表の掲載</a:t>
            </a:r>
          </a:p>
        </p:txBody>
      </p:sp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B28DC9D8-3E31-4DE2-BFED-34ABDD8E33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668436"/>
              </p:ext>
            </p:extLst>
          </p:nvPr>
        </p:nvGraphicFramePr>
        <p:xfrm>
          <a:off x="228602" y="2905284"/>
          <a:ext cx="11735395" cy="278638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676485">
                  <a:extLst>
                    <a:ext uri="{9D8B030D-6E8A-4147-A177-3AD203B41FA5}">
                      <a16:colId xmlns:a16="http://schemas.microsoft.com/office/drawing/2014/main" val="3663451136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3082589927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1585853798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2359265842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821742039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1945944475"/>
                    </a:ext>
                  </a:extLst>
                </a:gridCol>
                <a:gridCol w="1676485">
                  <a:extLst>
                    <a:ext uri="{9D8B030D-6E8A-4147-A177-3AD203B41FA5}">
                      <a16:colId xmlns:a16="http://schemas.microsoft.com/office/drawing/2014/main" val="3939794217"/>
                    </a:ext>
                  </a:extLst>
                </a:gridCol>
              </a:tblGrid>
              <a:tr h="337820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dirty="0">
                          <a:solidFill>
                            <a:srgbClr val="FFFFFF"/>
                          </a:solidFill>
                          <a:effectLst/>
                        </a:rPr>
                        <a:t>曜日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dirty="0">
                          <a:solidFill>
                            <a:srgbClr val="FFFFFF"/>
                          </a:solidFill>
                          <a:effectLst/>
                        </a:rPr>
                        <a:t>月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dirty="0">
                          <a:solidFill>
                            <a:srgbClr val="FFFFFF"/>
                          </a:solidFill>
                          <a:effectLst/>
                        </a:rPr>
                        <a:t>火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>
                          <a:solidFill>
                            <a:srgbClr val="FFFFFF"/>
                          </a:solidFill>
                          <a:effectLst/>
                        </a:rPr>
                        <a:t>水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>
                          <a:solidFill>
                            <a:srgbClr val="FFFFFF"/>
                          </a:solidFill>
                          <a:effectLst/>
                        </a:rPr>
                        <a:t>木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dirty="0">
                          <a:solidFill>
                            <a:srgbClr val="FFFFFF"/>
                          </a:solidFill>
                          <a:effectLst/>
                        </a:rPr>
                        <a:t>金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 dirty="0">
                          <a:solidFill>
                            <a:srgbClr val="FFFFFF"/>
                          </a:solidFill>
                          <a:effectLst/>
                        </a:rPr>
                        <a:t>土</a:t>
                      </a:r>
                    </a:p>
                  </a:txBody>
                  <a:tcPr marL="31750" marR="31750" marT="31750" marB="3175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899257"/>
                  </a:ext>
                </a:extLst>
              </a:tr>
              <a:tr h="6121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>
                          <a:effectLst/>
                        </a:rPr>
                        <a:t>午前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dirty="0">
                          <a:effectLst/>
                        </a:rPr>
                        <a:t>鈴木一郎</a:t>
                      </a:r>
                      <a:br>
                        <a:rPr lang="zh-TW" altLang="en-US" sz="1800" dirty="0">
                          <a:effectLst/>
                        </a:rPr>
                      </a:br>
                      <a:r>
                        <a:rPr lang="zh-TW" altLang="en-US" sz="1800" dirty="0">
                          <a:effectLst/>
                        </a:rPr>
                        <a:t>山田花子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山田太郎</a:t>
                      </a:r>
                      <a:br>
                        <a:rPr lang="ja-JP" altLang="en-US" sz="1800" dirty="0">
                          <a:effectLst/>
                        </a:rPr>
                      </a:br>
                      <a:r>
                        <a:rPr lang="ja-JP" altLang="en-US" sz="1800" dirty="0">
                          <a:effectLst/>
                        </a:rPr>
                        <a:t>田中ひろゆき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>
                          <a:effectLst/>
                        </a:rPr>
                        <a:t>鈴木一郎</a:t>
                      </a:r>
                      <a:br>
                        <a:rPr lang="ja-JP" altLang="en-US" sz="1800">
                          <a:effectLst/>
                        </a:rPr>
                      </a:br>
                      <a:endParaRPr lang="ja-JP" altLang="en-US" sz="1800">
                        <a:effectLst/>
                      </a:endParaRP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山田太郎</a:t>
                      </a:r>
                      <a:br>
                        <a:rPr lang="ja-JP" altLang="en-US" sz="1800" dirty="0">
                          <a:effectLst/>
                        </a:rPr>
                      </a:br>
                      <a:r>
                        <a:rPr lang="ja-JP" altLang="en-US" sz="1800" dirty="0">
                          <a:effectLst/>
                        </a:rPr>
                        <a:t>田中ひろゆき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山田花子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>
                          <a:effectLst/>
                        </a:rPr>
                        <a:t>鈴木一郎</a:t>
                      </a:r>
                    </a:p>
                  </a:txBody>
                  <a:tcPr marL="31750" marR="31750" marT="31750" marB="31750" anchor="ctr"/>
                </a:tc>
                <a:extLst>
                  <a:ext uri="{0D108BD9-81ED-4DB2-BD59-A6C34878D82A}">
                    <a16:rowId xmlns:a16="http://schemas.microsoft.com/office/drawing/2014/main" val="682669603"/>
                  </a:ext>
                </a:extLst>
              </a:tr>
              <a:tr h="61214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>
                          <a:effectLst/>
                        </a:rPr>
                        <a:t>伊藤一夫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>
                          <a:effectLst/>
                        </a:rPr>
                        <a:t>伊藤一夫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extLst>
                  <a:ext uri="{0D108BD9-81ED-4DB2-BD59-A6C34878D82A}">
                    <a16:rowId xmlns:a16="http://schemas.microsoft.com/office/drawing/2014/main" val="2519378861"/>
                  </a:ext>
                </a:extLst>
              </a:tr>
              <a:tr h="6121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800" b="0">
                          <a:effectLst/>
                        </a:rPr>
                        <a:t>午後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>
                          <a:effectLst/>
                        </a:rPr>
                        <a:t>佐藤ひろし</a:t>
                      </a:r>
                      <a:br>
                        <a:rPr lang="ja-JP" altLang="en-US" sz="1800">
                          <a:effectLst/>
                        </a:rPr>
                      </a:br>
                      <a:r>
                        <a:rPr lang="ja-JP" altLang="en-US" sz="1800">
                          <a:effectLst/>
                        </a:rPr>
                        <a:t>高橋大介</a:t>
                      </a:r>
                    </a:p>
                  </a:txBody>
                  <a:tcPr marL="31750" marR="31750" marT="31750" marB="3175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手術日</a:t>
                      </a:r>
                      <a:endParaRPr lang="en-US" altLang="ja-JP" sz="1800" dirty="0">
                        <a:effectLst/>
                      </a:endParaRPr>
                    </a:p>
                  </a:txBody>
                  <a:tcPr marL="31750" marR="31750" marT="31750" marB="3175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高橋大介</a:t>
                      </a:r>
                    </a:p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※</a:t>
                      </a:r>
                      <a:r>
                        <a:rPr lang="ja-JP" altLang="en-US" sz="1800" dirty="0">
                          <a:effectLst/>
                        </a:rPr>
                        <a:t>骨粗鬆症外来</a:t>
                      </a:r>
                    </a:p>
                  </a:txBody>
                  <a:tcPr marL="31750" marR="31750" marT="31750" marB="3175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手術日</a:t>
                      </a:r>
                      <a:endParaRPr lang="en-US" altLang="ja-JP" sz="1800" dirty="0">
                        <a:effectLst/>
                      </a:endParaRP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高橋大介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extLst>
                  <a:ext uri="{0D108BD9-81ED-4DB2-BD59-A6C34878D82A}">
                    <a16:rowId xmlns:a16="http://schemas.microsoft.com/office/drawing/2014/main" val="3159641156"/>
                  </a:ext>
                </a:extLst>
              </a:tr>
              <a:tr h="61214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伊藤一夫</a:t>
                      </a:r>
                    </a:p>
                  </a:txBody>
                  <a:tcPr marL="31750" marR="31750" marT="31750" marB="31750" anchor="ctr"/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800" dirty="0">
                          <a:effectLst/>
                        </a:rPr>
                        <a:t>伊藤一夫</a:t>
                      </a:r>
                    </a:p>
                  </a:txBody>
                  <a:tcPr marL="31750" marR="31750" marT="31750" marB="317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800" dirty="0">
                          <a:effectLst/>
                        </a:rPr>
                        <a:t>-</a:t>
                      </a:r>
                    </a:p>
                  </a:txBody>
                  <a:tcPr marL="31750" marR="31750" marT="31750" marB="31750" anchor="ctr"/>
                </a:tc>
                <a:extLst>
                  <a:ext uri="{0D108BD9-81ED-4DB2-BD59-A6C34878D82A}">
                    <a16:rowId xmlns:a16="http://schemas.microsoft.com/office/drawing/2014/main" val="3950751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432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tellas">
  <a:themeElements>
    <a:clrScheme name="Astellas">
      <a:dk1>
        <a:srgbClr val="4D4D4F"/>
      </a:dk1>
      <a:lt1>
        <a:sysClr val="window" lastClr="FFFFFF"/>
      </a:lt1>
      <a:dk2>
        <a:srgbClr val="4D4D4F"/>
      </a:dk2>
      <a:lt2>
        <a:srgbClr val="D91E49"/>
      </a:lt2>
      <a:accent1>
        <a:srgbClr val="D91E49"/>
      </a:accent1>
      <a:accent2>
        <a:srgbClr val="A62B4E"/>
      </a:accent2>
      <a:accent3>
        <a:srgbClr val="939597"/>
      </a:accent3>
      <a:accent4>
        <a:srgbClr val="A7A9AC"/>
      </a:accent4>
      <a:accent5>
        <a:srgbClr val="A20067"/>
      </a:accent5>
      <a:accent6>
        <a:srgbClr val="4D4D4F"/>
      </a:accent6>
      <a:hlink>
        <a:srgbClr val="4D4D4F"/>
      </a:hlink>
      <a:folHlink>
        <a:srgbClr val="4D4D4F"/>
      </a:folHlink>
    </a:clrScheme>
    <a:fontScheme name="230525">
      <a:majorFont>
        <a:latin typeface="Arial"/>
        <a:ea typeface="BIZ UDPゴシック"/>
        <a:cs typeface=""/>
      </a:majorFont>
      <a:minorFont>
        <a:latin typeface="Arial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プレゼンテーション1" id="{3092C979-AD6F-4D9C-ABFF-31841C78D056}" vid="{67DF5C61-FD6E-4E4D-9069-5D12781F61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66AD949C494AC4A9A8DD3BECCD1F9B5" ma:contentTypeVersion="18" ma:contentTypeDescription="新しいドキュメントを作成します。" ma:contentTypeScope="" ma:versionID="ac4f4158ff3106a12c335acb95f273e7">
  <xsd:schema xmlns:xsd="http://www.w3.org/2001/XMLSchema" xmlns:xs="http://www.w3.org/2001/XMLSchema" xmlns:p="http://schemas.microsoft.com/office/2006/metadata/properties" xmlns:ns2="4a428613-968d-4ba3-9d26-134845ce3a4b" xmlns:ns3="e892eacf-b0ed-43c9-991e-5d8b25b74732" targetNamespace="http://schemas.microsoft.com/office/2006/metadata/properties" ma:root="true" ma:fieldsID="b48b68fcba0859b17579824536a92d3c" ns2:_="" ns3:_="">
    <xsd:import namespace="4a428613-968d-4ba3-9d26-134845ce3a4b"/>
    <xsd:import namespace="e892eacf-b0ed-43c9-991e-5d8b25b74732"/>
    <xsd:element name="properties">
      <xsd:complexType>
        <xsd:sequence>
          <xsd:element name="documentManagement">
            <xsd:complexType>
              <xsd:all>
                <xsd:element ref="ns2:_x7ba1__x7406__x8005_" minOccurs="0"/>
                <xsd:element ref="ns2:_x4e26__x3073__x9806_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SearchProperties" minOccurs="0"/>
                <xsd:element ref="ns2:_x79fb__x884c__x5148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8613-968d-4ba3-9d26-134845ce3a4b" elementFormDefault="qualified">
    <xsd:import namespace="http://schemas.microsoft.com/office/2006/documentManagement/types"/>
    <xsd:import namespace="http://schemas.microsoft.com/office/infopath/2007/PartnerControls"/>
    <xsd:element name="_x7ba1__x7406__x8005_" ma:index="8" nillable="true" ma:displayName="管理者" ma:format="Dropdown" ma:internalName="_x7ba1__x7406__x8005_">
      <xsd:simpleType>
        <xsd:restriction base="dms:Text">
          <xsd:maxLength value="255"/>
        </xsd:restriction>
      </xsd:simpleType>
    </xsd:element>
    <xsd:element name="_x4e26__x3073__x9806_" ma:index="9" nillable="true" ma:displayName="並び順" ma:format="Dropdown" ma:indexed="true" ma:internalName="_x4e26__x3073__x9806_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c86e3a17-c120-4035-848b-e22179fa99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x79fb__x884c__x5148_" ma:index="25" nillable="true" ma:displayName="移行先" ma:format="Dropdown" ma:internalName="_x79fb__x884c__x5148_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92eacf-b0ed-43c9-991e-5d8b25b7473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a7e5bc7b-59aa-4d58-b6af-7ad14777cc37}" ma:internalName="TaxCatchAll" ma:showField="CatchAllData" ma:web="e892eacf-b0ed-43c9-991e-5d8b25b747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92eacf-b0ed-43c9-991e-5d8b25b74732" xsi:nil="true"/>
    <lcf76f155ced4ddcb4097134ff3c332f xmlns="4a428613-968d-4ba3-9d26-134845ce3a4b">
      <Terms xmlns="http://schemas.microsoft.com/office/infopath/2007/PartnerControls"/>
    </lcf76f155ced4ddcb4097134ff3c332f>
    <SharedWithUsers xmlns="e892eacf-b0ed-43c9-991e-5d8b25b74732">
      <UserInfo>
        <DisplayName/>
        <AccountId xsi:nil="true"/>
        <AccountType/>
      </UserInfo>
    </SharedWithUsers>
    <MediaLengthInSeconds xmlns="4a428613-968d-4ba3-9d26-134845ce3a4b" xsi:nil="true"/>
    <_x7ba1__x7406__x8005_ xmlns="4a428613-968d-4ba3-9d26-134845ce3a4b" xsi:nil="true"/>
    <_x4e26__x3073__x9806_ xmlns="4a428613-968d-4ba3-9d26-134845ce3a4b" xsi:nil="true"/>
    <_x79fb__x884c__x5148_ xmlns="4a428613-968d-4ba3-9d26-134845ce3a4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A727CA-C85E-466F-B396-C17847641F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8613-968d-4ba3-9d26-134845ce3a4b"/>
    <ds:schemaRef ds:uri="e892eacf-b0ed-43c9-991e-5d8b25b747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F764C8-DC6F-410E-93F6-678DAB3DA4C3}">
  <ds:schemaRefs>
    <ds:schemaRef ds:uri="http://purl.org/dc/terms/"/>
    <ds:schemaRef ds:uri="4a428613-968d-4ba3-9d26-134845ce3a4b"/>
    <ds:schemaRef ds:uri="http://schemas.microsoft.com/office/2006/documentManagement/types"/>
    <ds:schemaRef ds:uri="http://schemas.openxmlformats.org/package/2006/metadata/core-properties"/>
    <ds:schemaRef ds:uri="e892eacf-b0ed-43c9-991e-5d8b25b74732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36698C8-D533-4E0E-8150-E4E88CE62E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45</TotalTime>
  <Words>448</Words>
  <Application>Microsoft Office PowerPoint</Application>
  <PresentationFormat>ワイド画面</PresentationFormat>
  <Paragraphs>72</Paragraphs>
  <Slides>6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4" baseType="lpstr">
      <vt:lpstr>BIZ UDPゴシック</vt:lpstr>
      <vt:lpstr>HGPｺﾞｼｯｸM</vt:lpstr>
      <vt:lpstr>游ゴシック</vt:lpstr>
      <vt:lpstr>Arial</vt:lpstr>
      <vt:lpstr>Calibri</vt:lpstr>
      <vt:lpstr>Wingdings</vt:lpstr>
      <vt:lpstr>Astellas</vt:lpstr>
      <vt:lpstr>think-cell Slide</vt:lpstr>
      <vt:lpstr>二次性骨折予防継続管理料の説明</vt:lpstr>
      <vt:lpstr>今後の診療の流れ</vt:lpstr>
      <vt:lpstr>重症骨粗鬆症の定義</vt:lpstr>
      <vt:lpstr>大腿骨近位部骨折後の生存率</vt:lpstr>
      <vt:lpstr>主な骨粗鬆症治療薬の評価（骨粗鬆症性椎体骨折診療マニュアル）</vt:lpstr>
      <vt:lpstr>外来表の掲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二次性骨折予防に向けた地域連携</dc:title>
  <dc:creator>Ohkuri, Takeharu(大栗 威晴)</dc:creator>
  <cp:lastModifiedBy>Ohkuri, Takeharu(大栗 威晴)[He/Him]</cp:lastModifiedBy>
  <cp:revision>136</cp:revision>
  <dcterms:created xsi:type="dcterms:W3CDTF">2023-07-27T00:39:12Z</dcterms:created>
  <dcterms:modified xsi:type="dcterms:W3CDTF">2024-06-10T23:1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6AD949C494AC4A9A8DD3BECCD1F9B5</vt:lpwstr>
  </property>
  <property fmtid="{D5CDD505-2E9C-101B-9397-08002B2CF9AE}" pid="3" name="MediaServiceImageTags">
    <vt:lpwstr/>
  </property>
  <property fmtid="{D5CDD505-2E9C-101B-9397-08002B2CF9AE}" pid="4" name="Order">
    <vt:r8>361600</vt:r8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</Properties>
</file>